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charts/chart5.xml" ContentType="application/vnd.openxmlformats-officedocument.drawingml.chart+xml"/>
  <Override PartName="/ppt/tags/tag6.xml" ContentType="application/vnd.openxmlformats-officedocument.presentationml.tags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35"/>
  </p:notesMasterIdLst>
  <p:sldIdLst>
    <p:sldId id="317" r:id="rId2"/>
    <p:sldId id="318" r:id="rId3"/>
    <p:sldId id="319" r:id="rId4"/>
    <p:sldId id="312" r:id="rId5"/>
    <p:sldId id="299" r:id="rId6"/>
    <p:sldId id="300" r:id="rId7"/>
    <p:sldId id="301" r:id="rId8"/>
    <p:sldId id="302" r:id="rId9"/>
    <p:sldId id="304" r:id="rId10"/>
    <p:sldId id="306" r:id="rId11"/>
    <p:sldId id="268" r:id="rId12"/>
    <p:sldId id="321" r:id="rId13"/>
    <p:sldId id="266" r:id="rId14"/>
    <p:sldId id="307" r:id="rId15"/>
    <p:sldId id="258" r:id="rId16"/>
    <p:sldId id="276" r:id="rId17"/>
    <p:sldId id="269" r:id="rId18"/>
    <p:sldId id="271" r:id="rId19"/>
    <p:sldId id="257" r:id="rId20"/>
    <p:sldId id="280" r:id="rId21"/>
    <p:sldId id="281" r:id="rId22"/>
    <p:sldId id="259" r:id="rId23"/>
    <p:sldId id="284" r:id="rId24"/>
    <p:sldId id="261" r:id="rId25"/>
    <p:sldId id="285" r:id="rId26"/>
    <p:sldId id="289" r:id="rId27"/>
    <p:sldId id="264" r:id="rId28"/>
    <p:sldId id="322" r:id="rId29"/>
    <p:sldId id="262" r:id="rId30"/>
    <p:sldId id="308" r:id="rId31"/>
    <p:sldId id="313" r:id="rId32"/>
    <p:sldId id="315" r:id="rId33"/>
    <p:sldId id="275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F0D9"/>
    <a:srgbClr val="F8FCF6"/>
    <a:srgbClr val="FFFFFF"/>
    <a:srgbClr val="F2EFEB"/>
    <a:srgbClr val="FBC69B"/>
    <a:srgbClr val="EFF5FB"/>
    <a:srgbClr val="628F7B"/>
    <a:srgbClr val="E46C0A"/>
    <a:srgbClr val="466658"/>
    <a:srgbClr val="9E21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03" autoAdjust="0"/>
    <p:restoredTop sz="94660"/>
  </p:normalViewPr>
  <p:slideViewPr>
    <p:cSldViewPr snapToGrid="0" showGuides="1">
      <p:cViewPr varScale="1">
        <p:scale>
          <a:sx n="63" d="100"/>
          <a:sy n="63" d="100"/>
        </p:scale>
        <p:origin x="928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har.raza\AppData\Local\Microsoft\Windows\INetCache\Content.Outlook\V01JR6ZH\Copy%20of%20Baliakandi%20analysis%20v6_AER_V2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har.raza\AppData\Local\Microsoft\Windows\INetCache\Content.Outlook\V01JR6ZH\Copy%20of%20Baliakandi%20analysis%20v6_AER_V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ahar.raza\AppData\Local\Microsoft\Windows\INetCache\Content.Outlook\V01JR6ZH\Copy%20of%20Baliakandi%20analysis%20v6_AER_V2%20(002)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ahar.raza\AppData\Local\Microsoft\Windows\INetCache\Content.Outlook\V01JR6ZH\Copy%20of%20Baliakandi%20analysis%20v6_AER_V2%20(002)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uoe-my.sharepoint.com/personal/s1867776_ed_ac_uk/Documents/Ehsan_Office/Project/AdSEARCH/Secondary%20Analysis/Pregnancy%20Loss/Baliakandi%20analysis%20v9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heet1 (2)'!$C$1</c:f>
              <c:strCache>
                <c:ptCount val="1"/>
                <c:pt idx="0">
                  <c:v>%</c:v>
                </c:pt>
              </c:strCache>
            </c:strRef>
          </c:tx>
          <c:spPr>
            <a:noFill/>
            <a:ln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DB9-4BE0-B22A-004BBD4097A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DB9-4BE0-B22A-004BBD4097AF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DB9-4BE0-B22A-004BBD4097AF}"/>
              </c:ext>
            </c:extLst>
          </c:dPt>
          <c:dLbls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0"/>
            <c:plus>
              <c:numRef>
                <c:f>'Sheet1 (2)'!$E$2:$E$8</c:f>
                <c:numCache>
                  <c:formatCode>General</c:formatCode>
                  <c:ptCount val="3"/>
                  <c:pt idx="0">
                    <c:v>0.29999999999999982</c:v>
                  </c:pt>
                  <c:pt idx="1">
                    <c:v>0.29999999999999982</c:v>
                  </c:pt>
                  <c:pt idx="2">
                    <c:v>0.59999999999999964</c:v>
                  </c:pt>
                </c:numCache>
                <c:extLst/>
              </c:numRef>
            </c:plus>
            <c:minus>
              <c:numRef>
                <c:f>'Sheet1 (2)'!$D$2:$D$8</c:f>
                <c:numCache>
                  <c:formatCode>General</c:formatCode>
                  <c:ptCount val="3"/>
                  <c:pt idx="0">
                    <c:v>0.70000000000000018</c:v>
                  </c:pt>
                  <c:pt idx="1">
                    <c:v>0.70000000000000018</c:v>
                  </c:pt>
                  <c:pt idx="2">
                    <c:v>0.40000000000000036</c:v>
                  </c:pt>
                </c:numCache>
                <c:extLst/>
              </c:numRef>
            </c:minus>
            <c:spPr>
              <a:noFill/>
              <a:ln w="2857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'Sheet1 (2)'!$B$2:$B$8</c:f>
              <c:strCache>
                <c:ptCount val="3"/>
                <c:pt idx="0">
                  <c:v>Early pregnancy loss</c:v>
                </c:pt>
                <c:pt idx="1">
                  <c:v>Late pregnancy loss</c:v>
                </c:pt>
                <c:pt idx="2">
                  <c:v>Total pregnnacy loss </c:v>
                </c:pt>
              </c:strCache>
              <c:extLst/>
            </c:strRef>
          </c:cat>
          <c:val>
            <c:numRef>
              <c:f>'Sheet1 (2)'!$C$2:$C$8</c:f>
              <c:numCache>
                <c:formatCode>0.0</c:formatCode>
                <c:ptCount val="3"/>
                <c:pt idx="0">
                  <c:v>6.7</c:v>
                </c:pt>
                <c:pt idx="1">
                  <c:v>4.7</c:v>
                </c:pt>
                <c:pt idx="2">
                  <c:v>11.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6DB9-4BE0-B22A-004BBD4097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14900784"/>
        <c:axId val="1714893712"/>
      </c:barChart>
      <c:catAx>
        <c:axId val="171490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4893712"/>
        <c:crosses val="autoZero"/>
        <c:auto val="1"/>
        <c:lblAlgn val="ctr"/>
        <c:lblOffset val="100"/>
        <c:noMultiLvlLbl val="0"/>
      </c:catAx>
      <c:valAx>
        <c:axId val="1714893712"/>
        <c:scaling>
          <c:orientation val="minMax"/>
          <c:max val="2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centage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4900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heet1 (2)'!$C$1</c:f>
              <c:strCache>
                <c:ptCount val="1"/>
                <c:pt idx="0">
                  <c:v>%</c:v>
                </c:pt>
              </c:strCache>
            </c:strRef>
          </c:tx>
          <c:spPr>
            <a:noFill/>
            <a:ln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DB9-4BE0-B22A-004BBD4097A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DB9-4BE0-B22A-004BBD4097AF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DB9-4BE0-B22A-004BBD4097AF}"/>
              </c:ext>
            </c:extLst>
          </c:dPt>
          <c:dLbls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0"/>
            <c:plus>
              <c:numRef>
                <c:f>'Sheet1 (2)'!$E$2:$E$8</c:f>
                <c:numCache>
                  <c:formatCode>General</c:formatCode>
                  <c:ptCount val="3"/>
                  <c:pt idx="0">
                    <c:v>0.29999999999999982</c:v>
                  </c:pt>
                  <c:pt idx="1">
                    <c:v>0.29999999999999982</c:v>
                  </c:pt>
                  <c:pt idx="2">
                    <c:v>0.59999999999999964</c:v>
                  </c:pt>
                </c:numCache>
                <c:extLst/>
              </c:numRef>
            </c:plus>
            <c:minus>
              <c:numRef>
                <c:f>'Sheet1 (2)'!$D$2:$D$8</c:f>
                <c:numCache>
                  <c:formatCode>General</c:formatCode>
                  <c:ptCount val="3"/>
                  <c:pt idx="0">
                    <c:v>0.70000000000000018</c:v>
                  </c:pt>
                  <c:pt idx="1">
                    <c:v>0.70000000000000018</c:v>
                  </c:pt>
                  <c:pt idx="2">
                    <c:v>0.40000000000000036</c:v>
                  </c:pt>
                </c:numCache>
                <c:extLst/>
              </c:numRef>
            </c:minus>
            <c:spPr>
              <a:noFill/>
              <a:ln w="2857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'Sheet1 (2)'!$B$2:$B$8</c:f>
              <c:strCache>
                <c:ptCount val="3"/>
                <c:pt idx="0">
                  <c:v>Early pregnancy loss</c:v>
                </c:pt>
                <c:pt idx="1">
                  <c:v>Late pregnancy loss</c:v>
                </c:pt>
                <c:pt idx="2">
                  <c:v>Total pregnnacy loss </c:v>
                </c:pt>
              </c:strCache>
              <c:extLst/>
            </c:strRef>
          </c:cat>
          <c:val>
            <c:numRef>
              <c:f>'Sheet1 (2)'!$C$2:$C$8</c:f>
              <c:numCache>
                <c:formatCode>0.0</c:formatCode>
                <c:ptCount val="3"/>
                <c:pt idx="0">
                  <c:v>6.7</c:v>
                </c:pt>
                <c:pt idx="1">
                  <c:v>4.7</c:v>
                </c:pt>
                <c:pt idx="2">
                  <c:v>11.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6DB9-4BE0-B22A-004BBD4097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14900784"/>
        <c:axId val="1714893712"/>
      </c:barChart>
      <c:catAx>
        <c:axId val="171490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4893712"/>
        <c:crosses val="autoZero"/>
        <c:auto val="1"/>
        <c:lblAlgn val="ctr"/>
        <c:lblOffset val="100"/>
        <c:noMultiLvlLbl val="0"/>
      </c:catAx>
      <c:valAx>
        <c:axId val="1714893712"/>
        <c:scaling>
          <c:orientation val="minMax"/>
          <c:max val="2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ercentage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4900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2!$C$2</c:f>
              <c:strCache>
                <c:ptCount val="1"/>
                <c:pt idx="0">
                  <c:v>Pregnancy loss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chemeClr val="bg1">
                  <a:lumMod val="75000"/>
                </a:schemeClr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2!$B$3:$B$28</c:f>
              <c:numCache>
                <c:formatCode>General</c:formatCode>
                <c:ptCount val="26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</c:numCache>
            </c:numRef>
          </c:xVal>
          <c:yVal>
            <c:numRef>
              <c:f>Sheet2!$C$3:$C$28</c:f>
              <c:numCache>
                <c:formatCode>General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175</c:v>
                </c:pt>
                <c:pt idx="4">
                  <c:v>158</c:v>
                </c:pt>
                <c:pt idx="5">
                  <c:v>195</c:v>
                </c:pt>
                <c:pt idx="6">
                  <c:v>214</c:v>
                </c:pt>
                <c:pt idx="7">
                  <c:v>216</c:v>
                </c:pt>
                <c:pt idx="8">
                  <c:v>225</c:v>
                </c:pt>
                <c:pt idx="9">
                  <c:v>232</c:v>
                </c:pt>
                <c:pt idx="10">
                  <c:v>222</c:v>
                </c:pt>
                <c:pt idx="11">
                  <c:v>119</c:v>
                </c:pt>
                <c:pt idx="12">
                  <c:v>101</c:v>
                </c:pt>
                <c:pt idx="13">
                  <c:v>99</c:v>
                </c:pt>
                <c:pt idx="14">
                  <c:v>77</c:v>
                </c:pt>
                <c:pt idx="15">
                  <c:v>71</c:v>
                </c:pt>
                <c:pt idx="16">
                  <c:v>56</c:v>
                </c:pt>
                <c:pt idx="17">
                  <c:v>42</c:v>
                </c:pt>
                <c:pt idx="18">
                  <c:v>47</c:v>
                </c:pt>
                <c:pt idx="19">
                  <c:v>26</c:v>
                </c:pt>
                <c:pt idx="20">
                  <c:v>34</c:v>
                </c:pt>
                <c:pt idx="21">
                  <c:v>26</c:v>
                </c:pt>
                <c:pt idx="22">
                  <c:v>17</c:v>
                </c:pt>
                <c:pt idx="23">
                  <c:v>26</c:v>
                </c:pt>
                <c:pt idx="24">
                  <c:v>18</c:v>
                </c:pt>
                <c:pt idx="25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1328-4F26-BE14-D1DD7A4EF7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0740384"/>
        <c:axId val="730965040"/>
      </c:scatterChart>
      <c:valAx>
        <c:axId val="610740384"/>
        <c:scaling>
          <c:orientation val="minMax"/>
          <c:max val="28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estational age in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965040"/>
        <c:crosses val="autoZero"/>
        <c:crossBetween val="midCat"/>
        <c:majorUnit val="1"/>
      </c:valAx>
      <c:valAx>
        <c:axId val="730965040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 of pregnancy loss ev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0740384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Sheet2!$C$2</c:f>
              <c:strCache>
                <c:ptCount val="1"/>
                <c:pt idx="0">
                  <c:v>Pregnancy loss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rgbClr val="FFC000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328-4F26-BE14-D1DD7A4EF7C1}"/>
              </c:ext>
            </c:extLst>
          </c:dPt>
          <c:dPt>
            <c:idx val="1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328-4F26-BE14-D1DD7A4EF7C1}"/>
              </c:ext>
            </c:extLst>
          </c:dPt>
          <c:dPt>
            <c:idx val="2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328-4F26-BE14-D1DD7A4EF7C1}"/>
              </c:ext>
            </c:extLst>
          </c:dPt>
          <c:dPt>
            <c:idx val="3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328-4F26-BE14-D1DD7A4EF7C1}"/>
              </c:ext>
            </c:extLst>
          </c:dPt>
          <c:dPt>
            <c:idx val="4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328-4F26-BE14-D1DD7A4EF7C1}"/>
              </c:ext>
            </c:extLst>
          </c:dPt>
          <c:dPt>
            <c:idx val="5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328-4F26-BE14-D1DD7A4EF7C1}"/>
              </c:ext>
            </c:extLst>
          </c:dPt>
          <c:dPt>
            <c:idx val="6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328-4F26-BE14-D1DD7A4EF7C1}"/>
              </c:ext>
            </c:extLst>
          </c:dPt>
          <c:dPt>
            <c:idx val="7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328-4F26-BE14-D1DD7A4EF7C1}"/>
              </c:ext>
            </c:extLst>
          </c:dPt>
          <c:dPt>
            <c:idx val="8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328-4F26-BE14-D1DD7A4EF7C1}"/>
              </c:ext>
            </c:extLst>
          </c:dPt>
          <c:dPt>
            <c:idx val="9"/>
            <c:marker>
              <c:symbol val="circle"/>
              <c:size val="12"/>
              <c:spPr>
                <a:solidFill>
                  <a:schemeClr val="accent5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328-4F26-BE14-D1DD7A4EF7C1}"/>
              </c:ext>
            </c:extLst>
          </c:dPt>
          <c:dPt>
            <c:idx val="10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328-4F26-BE14-D1DD7A4EF7C1}"/>
              </c:ext>
            </c:extLst>
          </c:dPt>
          <c:dPt>
            <c:idx val="11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328-4F26-BE14-D1DD7A4EF7C1}"/>
              </c:ext>
            </c:extLst>
          </c:dPt>
          <c:dPt>
            <c:idx val="12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328-4F26-BE14-D1DD7A4EF7C1}"/>
              </c:ext>
            </c:extLst>
          </c:dPt>
          <c:dPt>
            <c:idx val="13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328-4F26-BE14-D1DD7A4EF7C1}"/>
              </c:ext>
            </c:extLst>
          </c:dPt>
          <c:dPt>
            <c:idx val="14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1328-4F26-BE14-D1DD7A4EF7C1}"/>
              </c:ext>
            </c:extLst>
          </c:dPt>
          <c:dPt>
            <c:idx val="15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1328-4F26-BE14-D1DD7A4EF7C1}"/>
              </c:ext>
            </c:extLst>
          </c:dPt>
          <c:dPt>
            <c:idx val="16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1328-4F26-BE14-D1DD7A4EF7C1}"/>
              </c:ext>
            </c:extLst>
          </c:dPt>
          <c:dPt>
            <c:idx val="17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1328-4F26-BE14-D1DD7A4EF7C1}"/>
              </c:ext>
            </c:extLst>
          </c:dPt>
          <c:dPt>
            <c:idx val="18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1328-4F26-BE14-D1DD7A4EF7C1}"/>
              </c:ext>
            </c:extLst>
          </c:dPt>
          <c:dPt>
            <c:idx val="19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1328-4F26-BE14-D1DD7A4EF7C1}"/>
              </c:ext>
            </c:extLst>
          </c:dPt>
          <c:dPt>
            <c:idx val="20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1328-4F26-BE14-D1DD7A4EF7C1}"/>
              </c:ext>
            </c:extLst>
          </c:dPt>
          <c:dPt>
            <c:idx val="21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1328-4F26-BE14-D1DD7A4EF7C1}"/>
              </c:ext>
            </c:extLst>
          </c:dPt>
          <c:dPt>
            <c:idx val="22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1328-4F26-BE14-D1DD7A4EF7C1}"/>
              </c:ext>
            </c:extLst>
          </c:dPt>
          <c:dPt>
            <c:idx val="23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1328-4F26-BE14-D1DD7A4EF7C1}"/>
              </c:ext>
            </c:extLst>
          </c:dPt>
          <c:dPt>
            <c:idx val="24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1328-4F26-BE14-D1DD7A4EF7C1}"/>
              </c:ext>
            </c:extLst>
          </c:dPt>
          <c:dPt>
            <c:idx val="25"/>
            <c:marker>
              <c:symbol val="circle"/>
              <c:size val="12"/>
              <c:spPr>
                <a:solidFill>
                  <a:schemeClr val="accent6">
                    <a:lumMod val="40000"/>
                    <a:lumOff val="60000"/>
                  </a:schemeClr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1328-4F26-BE14-D1DD7A4EF7C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2!$B$3:$B$28</c:f>
              <c:numCache>
                <c:formatCode>General</c:formatCode>
                <c:ptCount val="26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</c:numCache>
            </c:numRef>
          </c:xVal>
          <c:yVal>
            <c:numRef>
              <c:f>Sheet2!$C$3:$C$28</c:f>
              <c:numCache>
                <c:formatCode>General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175</c:v>
                </c:pt>
                <c:pt idx="4">
                  <c:v>158</c:v>
                </c:pt>
                <c:pt idx="5">
                  <c:v>195</c:v>
                </c:pt>
                <c:pt idx="6">
                  <c:v>214</c:v>
                </c:pt>
                <c:pt idx="7">
                  <c:v>216</c:v>
                </c:pt>
                <c:pt idx="8">
                  <c:v>225</c:v>
                </c:pt>
                <c:pt idx="9">
                  <c:v>232</c:v>
                </c:pt>
                <c:pt idx="10">
                  <c:v>222</c:v>
                </c:pt>
                <c:pt idx="11">
                  <c:v>119</c:v>
                </c:pt>
                <c:pt idx="12">
                  <c:v>101</c:v>
                </c:pt>
                <c:pt idx="13">
                  <c:v>99</c:v>
                </c:pt>
                <c:pt idx="14">
                  <c:v>77</c:v>
                </c:pt>
                <c:pt idx="15">
                  <c:v>71</c:v>
                </c:pt>
                <c:pt idx="16">
                  <c:v>56</c:v>
                </c:pt>
                <c:pt idx="17">
                  <c:v>42</c:v>
                </c:pt>
                <c:pt idx="18">
                  <c:v>47</c:v>
                </c:pt>
                <c:pt idx="19">
                  <c:v>26</c:v>
                </c:pt>
                <c:pt idx="20">
                  <c:v>34</c:v>
                </c:pt>
                <c:pt idx="21">
                  <c:v>26</c:v>
                </c:pt>
                <c:pt idx="22">
                  <c:v>17</c:v>
                </c:pt>
                <c:pt idx="23">
                  <c:v>26</c:v>
                </c:pt>
                <c:pt idx="24">
                  <c:v>18</c:v>
                </c:pt>
                <c:pt idx="25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1328-4F26-BE14-D1DD7A4EF7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0740384"/>
        <c:axId val="730965040"/>
      </c:scatterChart>
      <c:valAx>
        <c:axId val="610740384"/>
        <c:scaling>
          <c:orientation val="minMax"/>
          <c:max val="28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Gestational age in week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0965040"/>
        <c:crosses val="autoZero"/>
        <c:crossBetween val="midCat"/>
        <c:majorUnit val="1"/>
      </c:valAx>
      <c:valAx>
        <c:axId val="730965040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 of pregnancy loss ev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0740384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3!$C$2</c:f>
              <c:strCache>
                <c:ptCount val="1"/>
                <c:pt idx="0">
                  <c:v>Early pregnancy loss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 tIns="182880"/>
              <a:lstStyle/>
              <a:p>
                <a:pPr>
                  <a:defRPr b="1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3!$T$3:$T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plus>
            <c:minus>
              <c:numRef>
                <c:f>Sheet3!$S$3:$S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Sheet3!$B$3:$B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3!$C$3:$C$6</c:f>
              <c:numCache>
                <c:formatCode>0</c:formatCode>
                <c:ptCount val="4"/>
                <c:pt idx="0">
                  <c:v>6</c:v>
                </c:pt>
                <c:pt idx="1">
                  <c:v>7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CC5-426B-A1F3-8947C84EC279}"/>
            </c:ext>
          </c:extLst>
        </c:ser>
        <c:ser>
          <c:idx val="1"/>
          <c:order val="1"/>
          <c:tx>
            <c:strRef>
              <c:f>Sheet3!$D$2</c:f>
              <c:strCache>
                <c:ptCount val="1"/>
                <c:pt idx="0">
                  <c:v>Late pregnancy loss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 tIns="182880" bIns="182880"/>
              <a:lstStyle/>
              <a:p>
                <a:pPr>
                  <a:defRPr b="1"/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3!$V$3:$V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plus>
            <c:minus>
              <c:numRef>
                <c:f>Sheet3!$U$3:$U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Sheet3!$B$3:$B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3!$D$3:$D$6</c:f>
              <c:numCache>
                <c:formatCode>0</c:formatCode>
                <c:ptCount val="4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C5-426B-A1F3-8947C84EC279}"/>
            </c:ext>
          </c:extLst>
        </c:ser>
        <c:ser>
          <c:idx val="2"/>
          <c:order val="2"/>
          <c:tx>
            <c:strRef>
              <c:f>Sheet3!$E$2</c:f>
              <c:strCache>
                <c:ptCount val="1"/>
                <c:pt idx="0">
                  <c:v>Total pregnancy loss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 tIns="274320"/>
              <a:lstStyle/>
              <a:p>
                <a:pPr>
                  <a:defRPr b="1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3!$X$3:$X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plus>
            <c:minus>
              <c:numRef>
                <c:f>Sheet3!$W$3:$W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Sheet3!$B$3:$B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3!$E$3:$E$6</c:f>
              <c:numCache>
                <c:formatCode>0</c:formatCode>
                <c:ptCount val="4"/>
                <c:pt idx="0">
                  <c:v>11</c:v>
                </c:pt>
                <c:pt idx="1">
                  <c:v>12</c:v>
                </c:pt>
                <c:pt idx="2">
                  <c:v>10</c:v>
                </c:pt>
                <c:pt idx="3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CC5-426B-A1F3-8947C84EC2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1099808"/>
        <c:axId val="661098144"/>
      </c:lineChart>
      <c:catAx>
        <c:axId val="661099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661098144"/>
        <c:crosses val="autoZero"/>
        <c:auto val="1"/>
        <c:lblAlgn val="ctr"/>
        <c:lblOffset val="100"/>
        <c:noMultiLvlLbl val="0"/>
      </c:catAx>
      <c:valAx>
        <c:axId val="661098144"/>
        <c:scaling>
          <c:orientation val="minMax"/>
          <c:max val="2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ercentage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661099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3!$C$2</c:f>
              <c:strCache>
                <c:ptCount val="1"/>
                <c:pt idx="0">
                  <c:v>Early pregnancy loss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 tIns="182880"/>
              <a:lstStyle/>
              <a:p>
                <a:pPr>
                  <a:defRPr b="1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3!$T$3:$T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plus>
            <c:minus>
              <c:numRef>
                <c:f>Sheet3!$S$3:$S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Sheet3!$B$3:$B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3!$C$3:$C$6</c:f>
              <c:numCache>
                <c:formatCode>0</c:formatCode>
                <c:ptCount val="4"/>
                <c:pt idx="0">
                  <c:v>6</c:v>
                </c:pt>
                <c:pt idx="1">
                  <c:v>7</c:v>
                </c:pt>
                <c:pt idx="2">
                  <c:v>6</c:v>
                </c:pt>
                <c:pt idx="3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CC5-426B-A1F3-8947C84EC279}"/>
            </c:ext>
          </c:extLst>
        </c:ser>
        <c:ser>
          <c:idx val="1"/>
          <c:order val="1"/>
          <c:tx>
            <c:strRef>
              <c:f>Sheet3!$D$2</c:f>
              <c:strCache>
                <c:ptCount val="1"/>
                <c:pt idx="0">
                  <c:v>Late pregnancy loss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 tIns="182880" bIns="182880"/>
              <a:lstStyle/>
              <a:p>
                <a:pPr>
                  <a:defRPr b="1"/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3!$V$3:$V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plus>
            <c:minus>
              <c:numRef>
                <c:f>Sheet3!$U$3:$U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Sheet3!$B$3:$B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3!$D$3:$D$6</c:f>
              <c:numCache>
                <c:formatCode>0</c:formatCode>
                <c:ptCount val="4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CC5-426B-A1F3-8947C84EC279}"/>
            </c:ext>
          </c:extLst>
        </c:ser>
        <c:ser>
          <c:idx val="2"/>
          <c:order val="2"/>
          <c:tx>
            <c:strRef>
              <c:f>Sheet3!$E$2</c:f>
              <c:strCache>
                <c:ptCount val="1"/>
                <c:pt idx="0">
                  <c:v>Total pregnancy loss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 tIns="274320"/>
              <a:lstStyle/>
              <a:p>
                <a:pPr>
                  <a:defRPr b="1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3!$X$3:$X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plus>
            <c:minus>
              <c:numRef>
                <c:f>Sheet3!$W$3:$W$6</c:f>
                <c:numCache>
                  <c:formatCode>General</c:formatCode>
                  <c:ptCount val="4"/>
                  <c:pt idx="0">
                    <c:v>1</c:v>
                  </c:pt>
                  <c:pt idx="1">
                    <c:v>1</c:v>
                  </c:pt>
                  <c:pt idx="2">
                    <c:v>1</c:v>
                  </c:pt>
                  <c:pt idx="3">
                    <c:v>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numRef>
              <c:f>Sheet3!$B$3:$B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3!$E$3:$E$6</c:f>
              <c:numCache>
                <c:formatCode>0</c:formatCode>
                <c:ptCount val="4"/>
                <c:pt idx="0">
                  <c:v>11</c:v>
                </c:pt>
                <c:pt idx="1">
                  <c:v>12</c:v>
                </c:pt>
                <c:pt idx="2">
                  <c:v>10</c:v>
                </c:pt>
                <c:pt idx="3">
                  <c:v>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CC5-426B-A1F3-8947C84EC2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1099808"/>
        <c:axId val="661098144"/>
      </c:lineChart>
      <c:catAx>
        <c:axId val="661099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661098144"/>
        <c:crosses val="autoZero"/>
        <c:auto val="1"/>
        <c:lblAlgn val="ctr"/>
        <c:lblOffset val="100"/>
        <c:noMultiLvlLbl val="0"/>
      </c:catAx>
      <c:valAx>
        <c:axId val="661098144"/>
        <c:scaling>
          <c:orientation val="minMax"/>
          <c:max val="2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ercentage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661099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30610236220464E-2"/>
          <c:y val="3.0550971943078049E-2"/>
          <c:w val="0.91861105643044616"/>
          <c:h val="0.894573437292271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History of pregnancy loss model'!$C$27</c:f>
              <c:strCache>
                <c:ptCount val="1"/>
                <c:pt idx="0">
                  <c:v>AOR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E35-4BAC-8F72-E164E331F36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E35-4BAC-8F72-E164E331F36A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E35-4BAC-8F72-E164E331F36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0"/>
            <c:plus>
              <c:numRef>
                <c:f>'History of pregnancy loss model'!$G$28:$G$30</c:f>
                <c:numCache>
                  <c:formatCode>General</c:formatCode>
                  <c:ptCount val="3"/>
                  <c:pt idx="0">
                    <c:v>0.42000000000000015</c:v>
                  </c:pt>
                  <c:pt idx="1">
                    <c:v>0.58999999999999986</c:v>
                  </c:pt>
                  <c:pt idx="2">
                    <c:v>0.4700000000000002</c:v>
                  </c:pt>
                </c:numCache>
              </c:numRef>
            </c:plus>
            <c:minus>
              <c:numRef>
                <c:f>'History of pregnancy loss model'!$F$28:$F$30</c:f>
                <c:numCache>
                  <c:formatCode>General</c:formatCode>
                  <c:ptCount val="3"/>
                  <c:pt idx="0">
                    <c:v>0.32999999999999985</c:v>
                  </c:pt>
                  <c:pt idx="1">
                    <c:v>0.43500000000000005</c:v>
                  </c:pt>
                  <c:pt idx="2">
                    <c:v>0.36999999999999988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'History of pregnancy loss model'!$B$28:$B$30</c:f>
              <c:strCache>
                <c:ptCount val="3"/>
                <c:pt idx="0">
                  <c:v>Early pregnancy loss</c:v>
                </c:pt>
                <c:pt idx="1">
                  <c:v>Late pregnancy loss</c:v>
                </c:pt>
                <c:pt idx="2">
                  <c:v>Total pregnancy loss</c:v>
                </c:pt>
              </c:strCache>
            </c:strRef>
          </c:cat>
          <c:val>
            <c:numRef>
              <c:f>'History of pregnancy loss model'!$C$28:$C$30</c:f>
              <c:numCache>
                <c:formatCode>General</c:formatCode>
                <c:ptCount val="3"/>
                <c:pt idx="0">
                  <c:v>1.66</c:v>
                </c:pt>
                <c:pt idx="1">
                  <c:v>1.69</c:v>
                </c:pt>
                <c:pt idx="2">
                  <c:v>1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E35-4BAC-8F72-E164E331F36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10088575"/>
        <c:axId val="2110088991"/>
      </c:barChart>
      <c:catAx>
        <c:axId val="21100885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0088991"/>
        <c:crosses val="autoZero"/>
        <c:auto val="1"/>
        <c:lblAlgn val="ctr"/>
        <c:lblOffset val="100"/>
        <c:noMultiLvlLbl val="0"/>
      </c:catAx>
      <c:valAx>
        <c:axId val="2110088991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djusted Odds Rati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0088575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122</cdr:x>
      <cdr:y>0</cdr:y>
    </cdr:from>
    <cdr:to>
      <cdr:x>0.74748</cdr:x>
      <cdr:y>1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EB372EDE-FFFF-1084-5646-04A0A5687D2C}"/>
            </a:ext>
          </a:extLst>
        </cdr:cNvPr>
        <cdr:cNvSpPr/>
      </cdr:nvSpPr>
      <cdr:spPr>
        <a:xfrm xmlns:a="http://schemas.openxmlformats.org/drawingml/2006/main">
          <a:off x="868296" y="0"/>
          <a:ext cx="8244968" cy="6143386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9D42B5-FBC7-491E-B026-DA8E352757AB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E2B63C-ABDB-4A93-8072-3A228FBEC1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438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effectLst/>
              </a:rPr>
              <a:t>Around 45% of all abortions are unsafe, of which 97% take place in developing countries.</a:t>
            </a:r>
          </a:p>
          <a:p>
            <a:endParaRPr lang="en-US" b="1" dirty="0">
              <a:effectLst/>
            </a:endParaRPr>
          </a:p>
          <a:p>
            <a:r>
              <a:rPr lang="en-US" b="1" dirty="0">
                <a:effectLst/>
              </a:rPr>
              <a:t>Unsafe abortion is a leading – but preventable – cause of maternal deaths and morbidities. It can lead to physical and mental health complications and social and financial burdens for women, communities and health systems.</a:t>
            </a:r>
          </a:p>
          <a:p>
            <a:endParaRPr lang="en-US" b="1" dirty="0">
              <a:effectLst/>
            </a:endParaRPr>
          </a:p>
          <a:p>
            <a:r>
              <a:rPr lang="en-US" b="1" dirty="0">
                <a:effectLst/>
              </a:rPr>
              <a:t>Lack of access to safe, timely, affordable and respectful abortion care is world wide a critical public health and human rights issue.</a:t>
            </a:r>
          </a:p>
          <a:p>
            <a:br>
              <a:rPr lang="en-US" dirty="0"/>
            </a:br>
            <a:endParaRPr lang="en-US" sz="1200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7A9B0D-EF36-B14F-A48C-75AC929202C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434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00100" lvl="1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To document the process of design, development, and implementation 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To assess the acceptability and usability </a:t>
            </a:r>
            <a:r>
              <a:rPr lang="en-US" sz="2400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To understand the adoption and usage</a:t>
            </a:r>
            <a:endParaRPr lang="en-US" sz="2400" dirty="0">
              <a:solidFill>
                <a:schemeClr val="bg1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400" dirty="0">
                <a:solidFill>
                  <a:schemeClr val="bg1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To explore the barriers and enablers </a:t>
            </a:r>
            <a:r>
              <a:rPr lang="en-US" sz="2400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B91643-09F5-4845-870F-36B95DCD802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825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+mn-lt"/>
              </a:rPr>
              <a:t>International, national and general. These staff hold 3 kinds of contracts: Fixed Terms (FT), Contractual Service Agreement (CSA), and daily wagers (DW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B91643-09F5-4845-870F-36B95DCD802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269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+mn-lt"/>
              </a:rPr>
              <a:t>PL: was coded 0 when it had not occurred and 1 when it occurr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+mn-lt"/>
              </a:rPr>
              <a:t>(CAT. Binary variabl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white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white"/>
              </a:solidFill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B91643-09F5-4845-870F-36B95DCD802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699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9 % secondary education completed</a:t>
            </a:r>
          </a:p>
          <a:p>
            <a:r>
              <a:rPr lang="en-US" dirty="0"/>
              <a:t>5% were involved in income generating activities</a:t>
            </a:r>
          </a:p>
          <a:p>
            <a:r>
              <a:rPr lang="en-US" dirty="0"/>
              <a:t>37% first time pregnant mothers</a:t>
            </a:r>
          </a:p>
          <a:p>
            <a:r>
              <a:rPr lang="en-US" dirty="0"/>
              <a:t>12% had a history of pregnancy lo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E2B63C-ABDB-4A93-8072-3A228FBEC18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1384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1% were 40 and above</a:t>
            </a:r>
          </a:p>
          <a:p>
            <a:r>
              <a:rPr lang="en-US" dirty="0"/>
              <a:t>15% had no education</a:t>
            </a:r>
          </a:p>
          <a:p>
            <a:r>
              <a:rPr lang="en-US" dirty="0"/>
              <a:t>98% were involved in income generating activit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E2B63C-ABDB-4A93-8072-3A228FBEC18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7635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1.4% women experienced pregnancy loss</a:t>
            </a:r>
          </a:p>
          <a:p>
            <a:r>
              <a:rPr lang="en-US" dirty="0"/>
              <a:t>7% had early</a:t>
            </a:r>
          </a:p>
          <a:p>
            <a:r>
              <a:rPr lang="en-US" dirty="0"/>
              <a:t>5% l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E2B63C-ABDB-4A93-8072-3A228FBEC18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5767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0 % of PL happened in the first 12 weeks</a:t>
            </a:r>
          </a:p>
          <a:p>
            <a:r>
              <a:rPr lang="en-US" dirty="0"/>
              <a:t>Most (232) in the 12</a:t>
            </a:r>
            <a:r>
              <a:rPr lang="en-US" baseline="30000" dirty="0"/>
              <a:t>th</a:t>
            </a:r>
            <a:r>
              <a:rPr lang="en-US" dirty="0"/>
              <a:t> wee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E2B63C-ABDB-4A93-8072-3A228FBEC18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6465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E2B63C-ABDB-4A93-8072-3A228FBEC18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994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BB017D-421E-218E-FD83-36A54D9A41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F48095-AD55-885D-A9E8-89E8F57A4EC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B678D1-3453-A783-8236-7E3DC19141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C3B0D6-358E-44B6-259A-D79E617EA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A5AA78-5497-D2B6-1E39-C03010E8F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9041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EF18FC-5427-FD7F-5C62-3C138CD96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95141E-53D3-91AF-78BD-EF5486CA9D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E2BDA8-DB9E-55A1-6BEF-32B36EEA93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A119C8-3E07-A0F5-35F0-EE4768B07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AFEAA2-6018-F0C7-7F53-9EF5CC219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6A324EB-3B5F-99DC-7774-F9C4334E698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BA10DD-01F5-0677-5F84-96D34D9720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9D6072-C1D4-D09A-B421-7147D658CD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068286-6E0C-C938-668D-FF979C5EF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838F07-E10A-42F8-0021-5A61B4116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138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968AB-15ED-1D94-8350-CF77CE8A0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79A116-ED45-BC38-9EA2-677E6194FB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A91316-9877-BD3E-1DDD-AD5121588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373FA2-FCD0-F9A7-A3A5-F90214EDD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11050F-6BD8-9617-8A91-BF8C8641C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2445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BEA5A-3EA3-942F-539B-23726A75D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1FEAAF-44B9-2B4B-05DE-10122EC6CA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BE3B76-9228-C41C-E950-60C3C4758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85FB6-DA81-9694-4E3B-4F13FBF85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021005-C9D7-FB74-F61A-371CFD2C9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540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B90C8-ED7B-2DD9-A8BE-EDCB9560E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F0A899-0765-2420-EA06-A581ACAAB3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7543E3-55AF-F1E8-CEFB-CFFB26E4AD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BE545D-C32B-2B39-3C73-0862D58F0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2E27CF-D89B-AC1B-41D6-1F72D0240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C34890-97DB-8BDE-50EB-FAE0B302D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960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76FFB-4E39-A34C-FAE0-0FABE979B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F76D63-BC2B-4C37-DF5F-CC50A680C0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2D0295-0E8F-2BDC-F6D6-B1CACB3252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87CB92-5FB7-089A-BB30-0DF6DCA5A5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E696E1-6E70-D075-3620-5521F4CFE2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31E22E-3CDC-A6E7-0B85-03D4DC8B33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C37F698-C441-77AE-5DAE-472FD59AB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900170-A550-D05A-9DE7-B267DDF28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223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6B78A-0AC8-74E5-630D-8CC134742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A99C14-43F0-956E-5168-C4741A3A5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BB6408-659D-90BD-19CD-81506AF4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0A8EC-3EBB-EA9E-511B-DCCA34165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879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F37C6A-E19E-B24B-37B2-75734C4B8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C0B55A-0739-CB38-049B-6E003CA1B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A04116-A020-8A90-D6BC-ACBD2242F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521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58263-BBA4-A090-0AB6-2089E37AF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61C445-4122-F2B8-634A-68DBE51DA9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7DD1D2-FDC4-FAD3-9589-E5A71227FE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DEA74A-49AB-6C13-3175-66E238490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9467F9-B32E-3B74-8ED3-DBB95519AF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BE9AC4-252F-D0D3-1A8E-95F5CBBA4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3258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4936-D5E2-01A3-808C-CC1E236A1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A1C6AC-65E4-7BCC-AEF5-333E182384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457075-58D2-8F23-CB61-E46F3969D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D41293-6068-2F13-C044-B05483E44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E10200-545C-2EAD-DE7D-EC1B5702D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D6722F-863E-450F-6668-0130D3702C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689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E49E23-2E67-1CED-47A1-C85E331B3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8DAC49-A350-65EB-3A4B-FAC9475332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C8453B-7F4A-291A-0202-4E0CF44111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BD509E-DB8B-4972-AABA-C8B400B3785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8D0B18-584D-72E8-A370-17F5F1531C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EAC605-94B6-0B7C-8FC9-8D38771771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6EA256-52A5-4A3F-8D33-DB3BBB0956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613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238900" y="233464"/>
            <a:ext cx="11714202" cy="6391072"/>
            <a:chOff x="0" y="0"/>
            <a:chExt cx="12338234" cy="6731534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2338234" cy="6731534"/>
            </a:xfrm>
            <a:custGeom>
              <a:avLst/>
              <a:gdLst/>
              <a:ahLst/>
              <a:cxnLst/>
              <a:rect l="l" t="t" r="r" b="b"/>
              <a:pathLst>
                <a:path w="12338234" h="6731534">
                  <a:moveTo>
                    <a:pt x="0" y="0"/>
                  </a:moveTo>
                  <a:lnTo>
                    <a:pt x="0" y="6731534"/>
                  </a:lnTo>
                  <a:lnTo>
                    <a:pt x="12338234" y="6731534"/>
                  </a:lnTo>
                  <a:lnTo>
                    <a:pt x="12338234" y="0"/>
                  </a:lnTo>
                  <a:lnTo>
                    <a:pt x="0" y="0"/>
                  </a:lnTo>
                  <a:close/>
                  <a:moveTo>
                    <a:pt x="12277275" y="6670573"/>
                  </a:moveTo>
                  <a:lnTo>
                    <a:pt x="59690" y="6670573"/>
                  </a:lnTo>
                  <a:lnTo>
                    <a:pt x="59690" y="59690"/>
                  </a:lnTo>
                  <a:lnTo>
                    <a:pt x="12277275" y="59690"/>
                  </a:lnTo>
                  <a:lnTo>
                    <a:pt x="12277275" y="6670573"/>
                  </a:lnTo>
                  <a:close/>
                </a:path>
              </a:pathLst>
            </a:custGeom>
            <a:solidFill>
              <a:srgbClr val="1C2120"/>
            </a:solidFill>
          </p:spPr>
        </p:sp>
      </p:grpSp>
      <p:sp>
        <p:nvSpPr>
          <p:cNvPr id="4" name="AutoShape 4"/>
          <p:cNvSpPr/>
          <p:nvPr/>
        </p:nvSpPr>
        <p:spPr>
          <a:xfrm>
            <a:off x="279400" y="5302402"/>
            <a:ext cx="11633200" cy="1279712"/>
          </a:xfrm>
          <a:prstGeom prst="rect">
            <a:avLst/>
          </a:prstGeom>
          <a:solidFill>
            <a:srgbClr val="1C2120"/>
          </a:solidFill>
        </p:spPr>
      </p:sp>
      <p:sp>
        <p:nvSpPr>
          <p:cNvPr id="5" name="TextBox 5"/>
          <p:cNvSpPr txBox="1"/>
          <p:nvPr/>
        </p:nvSpPr>
        <p:spPr>
          <a:xfrm>
            <a:off x="1829365" y="5789372"/>
            <a:ext cx="8712174" cy="29662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83"/>
              </a:lnSpc>
            </a:pPr>
            <a:r>
              <a:rPr lang="en-US" sz="1867" i="1" spc="99" dirty="0">
                <a:solidFill>
                  <a:srgbClr val="F2EFE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ool of Pharmacy and Public Health, Independent University Bangladesh</a:t>
            </a:r>
          </a:p>
        </p:txBody>
      </p:sp>
      <p:grpSp>
        <p:nvGrpSpPr>
          <p:cNvPr id="6" name="Group 6"/>
          <p:cNvGrpSpPr/>
          <p:nvPr/>
        </p:nvGrpSpPr>
        <p:grpSpPr>
          <a:xfrm>
            <a:off x="616226" y="808287"/>
            <a:ext cx="10820400" cy="3761131"/>
            <a:chOff x="-159026" y="-1971238"/>
            <a:chExt cx="21640800" cy="9413148"/>
          </a:xfrm>
        </p:grpSpPr>
        <p:sp>
          <p:nvSpPr>
            <p:cNvPr id="8" name="TextBox 8"/>
            <p:cNvSpPr txBox="1"/>
            <p:nvPr/>
          </p:nvSpPr>
          <p:spPr>
            <a:xfrm>
              <a:off x="796682" y="-1971238"/>
              <a:ext cx="20007678" cy="77620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ct val="150000"/>
                </a:lnSpc>
                <a:spcAft>
                  <a:spcPts val="533"/>
                </a:spcAft>
              </a:pPr>
              <a:r>
                <a:rPr lang="en-US" sz="2800" b="1" dirty="0">
                  <a:latin typeface="Times New Roman" panose="02020603050405020304" pitchFamily="18" charset="0"/>
                  <a:ea typeface="Times New Roman" panose="02020603050405020304" pitchFamily="18" charset="0"/>
                  <a:cs typeface="Vrinda" panose="020B0502040204020203" pitchFamily="34" charset="0"/>
                </a:rPr>
                <a:t>Pregnancy loss in rural Bangladesh : </a:t>
              </a:r>
              <a:endParaRPr lang="en-US" sz="2800" dirty="0"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endParaRPr>
            </a:p>
            <a:p>
              <a:pPr algn="ctr">
                <a:lnSpc>
                  <a:spcPct val="150000"/>
                </a:lnSpc>
                <a:spcAft>
                  <a:spcPts val="533"/>
                </a:spcAft>
              </a:pPr>
              <a:r>
                <a:rPr lang="en-US" sz="2800" b="1" dirty="0">
                  <a:latin typeface="Times New Roman" panose="02020603050405020304" pitchFamily="18" charset="0"/>
                  <a:ea typeface="Times New Roman" panose="02020603050405020304" pitchFamily="18" charset="0"/>
                  <a:cs typeface="Vrinda" panose="020B0502040204020203" pitchFamily="34" charset="0"/>
                </a:rPr>
                <a:t>An analysis of burden and determinants based on a Health and Demographic Surveillance Site</a:t>
              </a:r>
              <a:endParaRPr lang="en-US" sz="2800" dirty="0"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endParaRPr>
            </a:p>
            <a:p>
              <a:pPr algn="ctr">
                <a:lnSpc>
                  <a:spcPts val="8544"/>
                </a:lnSpc>
              </a:pPr>
              <a:endParaRPr lang="en-US" sz="6400" dirty="0">
                <a:solidFill>
                  <a:srgbClr val="1C2120"/>
                </a:solidFill>
                <a:latin typeface="League Gothic"/>
              </a:endParaRPr>
            </a:p>
          </p:txBody>
        </p:sp>
        <p:sp>
          <p:nvSpPr>
            <p:cNvPr id="9" name="AutoShape 9"/>
            <p:cNvSpPr/>
            <p:nvPr/>
          </p:nvSpPr>
          <p:spPr>
            <a:xfrm>
              <a:off x="-159026" y="7320885"/>
              <a:ext cx="21640800" cy="121025"/>
            </a:xfrm>
            <a:prstGeom prst="rect">
              <a:avLst/>
            </a:prstGeom>
            <a:solidFill>
              <a:srgbClr val="1C2120"/>
            </a:solidFill>
          </p:spPr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A945CABF-39FF-412A-BF36-4B3EF3A4D18B}"/>
              </a:ext>
            </a:extLst>
          </p:cNvPr>
          <p:cNvSpPr/>
          <p:nvPr/>
        </p:nvSpPr>
        <p:spPr>
          <a:xfrm>
            <a:off x="3951075" y="4734891"/>
            <a:ext cx="3912160" cy="3869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2483"/>
              </a:lnSpc>
            </a:pPr>
            <a:r>
              <a:rPr lang="en-US" spc="99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sis Presented by Dr. Sahar Raza</a:t>
            </a:r>
          </a:p>
        </p:txBody>
      </p:sp>
      <p:pic>
        <p:nvPicPr>
          <p:cNvPr id="12" name="image1.jpeg" descr="IUB_logo_Color 07">
            <a:extLst>
              <a:ext uri="{FF2B5EF4-FFF2-40B4-BE49-F238E27FC236}">
                <a16:creationId xmlns:a16="http://schemas.microsoft.com/office/drawing/2014/main" id="{40F904E3-E8FC-4CB9-812F-8E903183D95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017259" y="2907186"/>
            <a:ext cx="2018334" cy="150724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C80269-13F3-4BB3-9A02-E8EB8A5AA602}"/>
              </a:ext>
            </a:extLst>
          </p:cNvPr>
          <p:cNvSpPr txBox="1"/>
          <p:nvPr/>
        </p:nvSpPr>
        <p:spPr>
          <a:xfrm>
            <a:off x="4842942" y="2886748"/>
            <a:ext cx="89650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sults</a:t>
            </a: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495E1E00-70B1-4A69-B7D6-F6FC26E6AAD7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42500310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7FA95-E101-901D-2E43-E02E9CF0A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53993"/>
            <a:ext cx="10972800" cy="1799986"/>
          </a:xfrm>
          <a:solidFill>
            <a:schemeClr val="accent5">
              <a:lumMod val="50000"/>
            </a:schemeClr>
          </a:solidFill>
          <a:ln w="38100">
            <a:solidFill>
              <a:schemeClr val="accent6">
                <a:lumMod val="20000"/>
                <a:lumOff val="80000"/>
              </a:schemeClr>
            </a:solidFill>
            <a:prstDash val="solid"/>
          </a:ln>
        </p:spPr>
        <p:txBody>
          <a:bodyPr anchor="ctr">
            <a:normAutofit/>
          </a:bodyPr>
          <a:lstStyle/>
          <a:p>
            <a:pPr algn="ctr"/>
            <a:r>
              <a:rPr lang="en-US" sz="28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What are the background characteristics of the pregnant women?</a:t>
            </a:r>
            <a:endParaRPr lang="en-US" sz="2800" dirty="0">
              <a:solidFill>
                <a:schemeClr val="accent6">
                  <a:lumMod val="20000"/>
                  <a:lumOff val="8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5273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1EB1E6C-DC27-4850-AC83-F3F0EF8C05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602613"/>
              </p:ext>
            </p:extLst>
          </p:nvPr>
        </p:nvGraphicFramePr>
        <p:xfrm>
          <a:off x="193040" y="159175"/>
          <a:ext cx="11805920" cy="5276896"/>
        </p:xfrm>
        <a:graphic>
          <a:graphicData uri="http://schemas.openxmlformats.org/drawingml/2006/table">
            <a:tbl>
              <a:tblPr firstRow="1" firstCol="1" bandRow="1"/>
              <a:tblGrid>
                <a:gridCol w="3129280">
                  <a:extLst>
                    <a:ext uri="{9D8B030D-6E8A-4147-A177-3AD203B41FA5}">
                      <a16:colId xmlns:a16="http://schemas.microsoft.com/office/drawing/2014/main" val="1534481627"/>
                    </a:ext>
                  </a:extLst>
                </a:gridCol>
                <a:gridCol w="5793634">
                  <a:extLst>
                    <a:ext uri="{9D8B030D-6E8A-4147-A177-3AD203B41FA5}">
                      <a16:colId xmlns:a16="http://schemas.microsoft.com/office/drawing/2014/main" val="1296626551"/>
                    </a:ext>
                  </a:extLst>
                </a:gridCol>
                <a:gridCol w="1558382">
                  <a:extLst>
                    <a:ext uri="{9D8B030D-6E8A-4147-A177-3AD203B41FA5}">
                      <a16:colId xmlns:a16="http://schemas.microsoft.com/office/drawing/2014/main" val="3311704826"/>
                    </a:ext>
                  </a:extLst>
                </a:gridCol>
                <a:gridCol w="1324624">
                  <a:extLst>
                    <a:ext uri="{9D8B030D-6E8A-4147-A177-3AD203B41FA5}">
                      <a16:colId xmlns:a16="http://schemas.microsoft.com/office/drawing/2014/main" val="2796297768"/>
                    </a:ext>
                  </a:extLst>
                </a:gridCol>
              </a:tblGrid>
              <a:tr h="51909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haracteristic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476205"/>
                  </a:ext>
                </a:extLst>
              </a:tr>
              <a:tr h="178621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ge of woman (years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lt;2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543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6.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326429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0-2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55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1.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192136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5-2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68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2.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2130213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0 and abov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178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9.9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9634297"/>
                  </a:ext>
                </a:extLst>
              </a:tr>
              <a:tr h="178621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ducation of woman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 educatio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6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6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798592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incomplet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73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.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745837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complet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738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.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8867469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incomplet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74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1.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5897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complete or higher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106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9.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790929"/>
                  </a:ext>
                </a:extLst>
              </a:tr>
              <a:tr h="178621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ofession of woman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t involved in income generating activit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999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4.9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206820"/>
                  </a:ext>
                </a:extLst>
              </a:tr>
              <a:tr h="1878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Involved in income generating activit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84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1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866096"/>
                  </a:ext>
                </a:extLst>
              </a:tr>
              <a:tr h="178621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egnancy order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88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7.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7197338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73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1.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7710760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76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7.8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3460399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gt;=4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70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.8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947495"/>
                  </a:ext>
                </a:extLst>
              </a:tr>
              <a:tr h="178621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History of pregnancy los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8,549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8.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268856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Ye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,53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.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4072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2974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B663A27-E1C8-46D7-8922-4CC4F5B6B8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952614"/>
              </p:ext>
            </p:extLst>
          </p:nvPr>
        </p:nvGraphicFramePr>
        <p:xfrm>
          <a:off x="193040" y="313699"/>
          <a:ext cx="11805920" cy="6376788"/>
        </p:xfrm>
        <a:graphic>
          <a:graphicData uri="http://schemas.openxmlformats.org/drawingml/2006/table">
            <a:tbl>
              <a:tblPr firstRow="1" firstCol="1" bandRow="1"/>
              <a:tblGrid>
                <a:gridCol w="3129280">
                  <a:extLst>
                    <a:ext uri="{9D8B030D-6E8A-4147-A177-3AD203B41FA5}">
                      <a16:colId xmlns:a16="http://schemas.microsoft.com/office/drawing/2014/main" val="4278172208"/>
                    </a:ext>
                  </a:extLst>
                </a:gridCol>
                <a:gridCol w="5793634">
                  <a:extLst>
                    <a:ext uri="{9D8B030D-6E8A-4147-A177-3AD203B41FA5}">
                      <a16:colId xmlns:a16="http://schemas.microsoft.com/office/drawing/2014/main" val="3935030461"/>
                    </a:ext>
                  </a:extLst>
                </a:gridCol>
                <a:gridCol w="1558382">
                  <a:extLst>
                    <a:ext uri="{9D8B030D-6E8A-4147-A177-3AD203B41FA5}">
                      <a16:colId xmlns:a16="http://schemas.microsoft.com/office/drawing/2014/main" val="757929587"/>
                    </a:ext>
                  </a:extLst>
                </a:gridCol>
                <a:gridCol w="1324624">
                  <a:extLst>
                    <a:ext uri="{9D8B030D-6E8A-4147-A177-3AD203B41FA5}">
                      <a16:colId xmlns:a16="http://schemas.microsoft.com/office/drawing/2014/main" val="2802882486"/>
                    </a:ext>
                  </a:extLst>
                </a:gridCol>
              </a:tblGrid>
              <a:tr h="51942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haracteristic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043047"/>
                  </a:ext>
                </a:extLst>
              </a:tr>
              <a:tr h="178621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ge of husband/partner (years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lt;2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818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9.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8592016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5-2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53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3.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548151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0-3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199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6.8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0850074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5-3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59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8.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4558249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0 and abov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24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6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012366"/>
                  </a:ext>
                </a:extLst>
              </a:tr>
              <a:tr h="178621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ducation of husband/partner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 educatio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94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5.2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4902900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incomplet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95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0.4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285106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complet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87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4.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934452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incomplet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34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7.6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6689908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complete or higher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261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2.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5238398"/>
                  </a:ext>
                </a:extLst>
              </a:tr>
              <a:tr h="178621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ofession of husband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t involved in income generating activit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5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.3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7622923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Involved in income generating activity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8939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7.7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2195266"/>
                  </a:ext>
                </a:extLst>
              </a:tr>
              <a:tr h="178621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Family structure (number of family members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≤4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71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1.8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707372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≥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437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8.2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975196"/>
                  </a:ext>
                </a:extLst>
              </a:tr>
              <a:tr h="178621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Wealth quintil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Lowest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92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8.6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2957033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138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9.6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090469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Middl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40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0.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578137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Fourth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476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1.2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2149589"/>
                  </a:ext>
                </a:extLst>
              </a:tr>
              <a:tr h="1786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Highest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140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9.6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768155"/>
                  </a:ext>
                </a:extLst>
              </a:tr>
              <a:tr h="20004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Tot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                  21,08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52432" marR="5243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2420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30841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7F5E2AA-BEA9-4F5B-8C9D-144FF9C68B88}"/>
              </a:ext>
            </a:extLst>
          </p:cNvPr>
          <p:cNvSpPr txBox="1">
            <a:spLocks/>
          </p:cNvSpPr>
          <p:nvPr/>
        </p:nvSpPr>
        <p:spPr>
          <a:xfrm>
            <a:off x="609600" y="2411561"/>
            <a:ext cx="10972800" cy="179998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8100">
            <a:solidFill>
              <a:schemeClr val="accent6">
                <a:lumMod val="20000"/>
                <a:lumOff val="80000"/>
              </a:schemeClr>
            </a:solidFill>
            <a:prstDash val="solid"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What is the burden of pregnancy loss?</a:t>
            </a:r>
            <a:endParaRPr lang="en-US" sz="2800" dirty="0">
              <a:solidFill>
                <a:schemeClr val="accent6">
                  <a:lumMod val="20000"/>
                  <a:lumOff val="8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5315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72AC5027-9738-49F3-9462-9541DC1AC3E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0" y="714614"/>
          <a:ext cx="12191999" cy="6143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E73C0B3-3253-C5CA-3629-C39C5D7F75AD}"/>
              </a:ext>
            </a:extLst>
          </p:cNvPr>
          <p:cNvSpPr txBox="1"/>
          <p:nvPr/>
        </p:nvSpPr>
        <p:spPr>
          <a:xfrm>
            <a:off x="520593" y="0"/>
            <a:ext cx="1108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rPr>
              <a:t>Pregnancy loss, early pregnancy loss and late pregnancy loss proportions, presented in percentages with 95% confidence intervals, N=21,08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4141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72AC5027-9738-49F3-9462-9541DC1AC3EF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0" y="714614"/>
          <a:ext cx="12191999" cy="6143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E73C0B3-3253-C5CA-3629-C39C5D7F75AD}"/>
              </a:ext>
            </a:extLst>
          </p:cNvPr>
          <p:cNvSpPr txBox="1"/>
          <p:nvPr/>
        </p:nvSpPr>
        <p:spPr>
          <a:xfrm>
            <a:off x="520593" y="0"/>
            <a:ext cx="110899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rPr>
              <a:t>Pregnancy loss, early pregnancy loss and late pregnancy loss proportions, presented in percentages with 95% confidence intervals, N=21,08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7108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7FA95-E101-901D-2E43-E02E9CF0A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244936"/>
            <a:ext cx="10972800" cy="1799986"/>
          </a:xfrm>
          <a:solidFill>
            <a:schemeClr val="accent5">
              <a:lumMod val="5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en-US" sz="28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When do the pregnancy loss events occur? </a:t>
            </a:r>
            <a:endParaRPr lang="en-US" sz="2800" dirty="0">
              <a:solidFill>
                <a:schemeClr val="accent6">
                  <a:lumMod val="20000"/>
                  <a:lumOff val="8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132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F39486BD-82E4-2B22-D78E-533203F31AD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714280"/>
              </p:ext>
            </p:extLst>
          </p:nvPr>
        </p:nvGraphicFramePr>
        <p:xfrm>
          <a:off x="0" y="683878"/>
          <a:ext cx="12192000" cy="6174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BCA7A07-CF23-D9FD-E762-8AF6BED4D9DF}"/>
              </a:ext>
            </a:extLst>
          </p:cNvPr>
          <p:cNvSpPr txBox="1"/>
          <p:nvPr/>
        </p:nvSpPr>
        <p:spPr>
          <a:xfrm>
            <a:off x="585587" y="22179"/>
            <a:ext cx="110208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rPr>
              <a:t>Frequency distribution of pregnancy loss events (n=2405) among pregnant women (N=21,083) by gestational age presented in wee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1872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F39486BD-82E4-2B22-D78E-533203F31AD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048746"/>
              </p:ext>
            </p:extLst>
          </p:nvPr>
        </p:nvGraphicFramePr>
        <p:xfrm>
          <a:off x="0" y="699246"/>
          <a:ext cx="12192000" cy="6158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2F7AFBA-3834-1110-4114-38ABE2014DA2}"/>
              </a:ext>
            </a:extLst>
          </p:cNvPr>
          <p:cNvSpPr txBox="1"/>
          <p:nvPr/>
        </p:nvSpPr>
        <p:spPr>
          <a:xfrm>
            <a:off x="585587" y="22179"/>
            <a:ext cx="110208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rPr>
              <a:t>Frequency distribution of pregnancy loss events (n=2405) among pregnant women (N=21,083) by gestational age presented in wee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814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238900" y="233464"/>
            <a:ext cx="11714202" cy="6391072"/>
            <a:chOff x="0" y="0"/>
            <a:chExt cx="12338234" cy="6731534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2338234" cy="6731534"/>
            </a:xfrm>
            <a:custGeom>
              <a:avLst/>
              <a:gdLst/>
              <a:ahLst/>
              <a:cxnLst/>
              <a:rect l="l" t="t" r="r" b="b"/>
              <a:pathLst>
                <a:path w="12338234" h="6731534">
                  <a:moveTo>
                    <a:pt x="0" y="0"/>
                  </a:moveTo>
                  <a:lnTo>
                    <a:pt x="0" y="6731534"/>
                  </a:lnTo>
                  <a:lnTo>
                    <a:pt x="12338234" y="6731534"/>
                  </a:lnTo>
                  <a:lnTo>
                    <a:pt x="12338234" y="0"/>
                  </a:lnTo>
                  <a:lnTo>
                    <a:pt x="0" y="0"/>
                  </a:lnTo>
                  <a:close/>
                  <a:moveTo>
                    <a:pt x="12277275" y="6670573"/>
                  </a:moveTo>
                  <a:lnTo>
                    <a:pt x="59690" y="6670573"/>
                  </a:lnTo>
                  <a:lnTo>
                    <a:pt x="59690" y="59690"/>
                  </a:lnTo>
                  <a:lnTo>
                    <a:pt x="12277275" y="59690"/>
                  </a:lnTo>
                  <a:lnTo>
                    <a:pt x="12277275" y="6670573"/>
                  </a:lnTo>
                  <a:close/>
                </a:path>
              </a:pathLst>
            </a:custGeom>
            <a:solidFill>
              <a:srgbClr val="1C2120"/>
            </a:solidFill>
          </p:spPr>
        </p:sp>
      </p:grpSp>
      <p:grpSp>
        <p:nvGrpSpPr>
          <p:cNvPr id="4" name="Group 4"/>
          <p:cNvGrpSpPr/>
          <p:nvPr/>
        </p:nvGrpSpPr>
        <p:grpSpPr>
          <a:xfrm>
            <a:off x="6842899" y="233464"/>
            <a:ext cx="5110202" cy="6391072"/>
            <a:chOff x="0" y="0"/>
            <a:chExt cx="5382430" cy="6731534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5382430" cy="6731534"/>
            </a:xfrm>
            <a:custGeom>
              <a:avLst/>
              <a:gdLst/>
              <a:ahLst/>
              <a:cxnLst/>
              <a:rect l="l" t="t" r="r" b="b"/>
              <a:pathLst>
                <a:path w="5382430" h="6731534">
                  <a:moveTo>
                    <a:pt x="0" y="0"/>
                  </a:moveTo>
                  <a:lnTo>
                    <a:pt x="0" y="6731534"/>
                  </a:lnTo>
                  <a:lnTo>
                    <a:pt x="5382430" y="6731534"/>
                  </a:lnTo>
                  <a:lnTo>
                    <a:pt x="5382430" y="0"/>
                  </a:lnTo>
                  <a:lnTo>
                    <a:pt x="0" y="0"/>
                  </a:lnTo>
                  <a:close/>
                  <a:moveTo>
                    <a:pt x="5321470" y="6670573"/>
                  </a:moveTo>
                  <a:lnTo>
                    <a:pt x="59690" y="6670573"/>
                  </a:lnTo>
                  <a:lnTo>
                    <a:pt x="59690" y="59690"/>
                  </a:lnTo>
                  <a:lnTo>
                    <a:pt x="5321470" y="59690"/>
                  </a:lnTo>
                  <a:lnTo>
                    <a:pt x="5321470" y="6670573"/>
                  </a:lnTo>
                  <a:close/>
                </a:path>
              </a:pathLst>
            </a:custGeom>
            <a:solidFill>
              <a:srgbClr val="1C2120"/>
            </a:solidFill>
          </p:spPr>
        </p:sp>
      </p:grpSp>
      <p:sp>
        <p:nvSpPr>
          <p:cNvPr id="8" name="TextBox 8"/>
          <p:cNvSpPr txBox="1"/>
          <p:nvPr/>
        </p:nvSpPr>
        <p:spPr>
          <a:xfrm>
            <a:off x="7546514" y="1321467"/>
            <a:ext cx="3450639" cy="42150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spc="75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spc="75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jectives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spc="75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hodology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spc="75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spc="75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cussion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spc="75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ength and limitations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spc="75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commendation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894523" y="2615633"/>
            <a:ext cx="4454580" cy="13542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en-US" sz="4400" spc="207" dirty="0">
                <a:solidFill>
                  <a:srgbClr val="1C21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line of the presentation</a:t>
            </a:r>
          </a:p>
        </p:txBody>
      </p:sp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F5C23A3-4890-42A0-A144-21F8190EDD16}"/>
              </a:ext>
            </a:extLst>
          </p:cNvPr>
          <p:cNvSpPr txBox="1">
            <a:spLocks/>
          </p:cNvSpPr>
          <p:nvPr/>
        </p:nvSpPr>
        <p:spPr>
          <a:xfrm>
            <a:off x="609600" y="2244936"/>
            <a:ext cx="10972800" cy="179998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Did the burden of pregnancy loss change over time?</a:t>
            </a:r>
            <a:endParaRPr lang="en-US" sz="2800" dirty="0">
              <a:solidFill>
                <a:schemeClr val="accent6">
                  <a:lumMod val="20000"/>
                  <a:lumOff val="8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8260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1EB5782-0C8A-2D88-5A30-D69CB9D89A30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0" y="683878"/>
          <a:ext cx="12192000" cy="6174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F473509-7882-EA69-05A3-C307740819A2}"/>
              </a:ext>
            </a:extLst>
          </p:cNvPr>
          <p:cNvSpPr txBox="1"/>
          <p:nvPr/>
        </p:nvSpPr>
        <p:spPr>
          <a:xfrm>
            <a:off x="522513" y="37547"/>
            <a:ext cx="110419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rPr>
              <a:t>proportion of pregnancy loss by LMP calendar years, presented in percentages with 95% confidence intervals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FDD284-F8E6-368D-185C-31EEEAD3B091}"/>
              </a:ext>
            </a:extLst>
          </p:cNvPr>
          <p:cNvSpPr/>
          <p:nvPr/>
        </p:nvSpPr>
        <p:spPr>
          <a:xfrm>
            <a:off x="1928691" y="3719072"/>
            <a:ext cx="8951901" cy="1913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C9EC65-DD50-C673-03A3-822AE55F4484}"/>
              </a:ext>
            </a:extLst>
          </p:cNvPr>
          <p:cNvSpPr/>
          <p:nvPr/>
        </p:nvSpPr>
        <p:spPr>
          <a:xfrm>
            <a:off x="10527126" y="3319503"/>
            <a:ext cx="338098" cy="384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82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1EB5782-0C8A-2D88-5A30-D69CB9D89A30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326624"/>
              </p:ext>
            </p:extLst>
          </p:nvPr>
        </p:nvGraphicFramePr>
        <p:xfrm>
          <a:off x="0" y="683878"/>
          <a:ext cx="12192000" cy="6174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F473509-7882-EA69-05A3-C307740819A2}"/>
              </a:ext>
            </a:extLst>
          </p:cNvPr>
          <p:cNvSpPr txBox="1"/>
          <p:nvPr/>
        </p:nvSpPr>
        <p:spPr>
          <a:xfrm>
            <a:off x="522513" y="37547"/>
            <a:ext cx="110419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rPr>
              <a:t>proportion of pregnancy loss by LMP calendar years, presented in percentages with 95% confidence interv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3231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5038B7C-BC5E-418C-93C1-2E85B2A551B0}"/>
              </a:ext>
            </a:extLst>
          </p:cNvPr>
          <p:cNvSpPr txBox="1">
            <a:spLocks/>
          </p:cNvSpPr>
          <p:nvPr/>
        </p:nvSpPr>
        <p:spPr>
          <a:xfrm>
            <a:off x="609600" y="2244936"/>
            <a:ext cx="10972800" cy="179998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What is the burden of pregnancy loss among different groups (background characteristics)?</a:t>
            </a:r>
            <a:endParaRPr lang="en-US" sz="2800" dirty="0">
              <a:solidFill>
                <a:schemeClr val="accent6">
                  <a:lumMod val="20000"/>
                  <a:lumOff val="8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3028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B75C96F-F4CB-46AD-9091-9E04FF8D85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251645"/>
              </p:ext>
            </p:extLst>
          </p:nvPr>
        </p:nvGraphicFramePr>
        <p:xfrm>
          <a:off x="314960" y="101601"/>
          <a:ext cx="11562080" cy="5247324"/>
        </p:xfrm>
        <a:graphic>
          <a:graphicData uri="http://schemas.openxmlformats.org/drawingml/2006/table">
            <a:tbl>
              <a:tblPr firstRow="1" firstCol="1" bandRow="1"/>
              <a:tblGrid>
                <a:gridCol w="1945244">
                  <a:extLst>
                    <a:ext uri="{9D8B030D-6E8A-4147-A177-3AD203B41FA5}">
                      <a16:colId xmlns:a16="http://schemas.microsoft.com/office/drawing/2014/main" val="450018039"/>
                    </a:ext>
                  </a:extLst>
                </a:gridCol>
                <a:gridCol w="3662093">
                  <a:extLst>
                    <a:ext uri="{9D8B030D-6E8A-4147-A177-3AD203B41FA5}">
                      <a16:colId xmlns:a16="http://schemas.microsoft.com/office/drawing/2014/main" val="3315861755"/>
                    </a:ext>
                  </a:extLst>
                </a:gridCol>
                <a:gridCol w="871553">
                  <a:extLst>
                    <a:ext uri="{9D8B030D-6E8A-4147-A177-3AD203B41FA5}">
                      <a16:colId xmlns:a16="http://schemas.microsoft.com/office/drawing/2014/main" val="64492966"/>
                    </a:ext>
                  </a:extLst>
                </a:gridCol>
                <a:gridCol w="1135380">
                  <a:extLst>
                    <a:ext uri="{9D8B030D-6E8A-4147-A177-3AD203B41FA5}">
                      <a16:colId xmlns:a16="http://schemas.microsoft.com/office/drawing/2014/main" val="2573619127"/>
                    </a:ext>
                  </a:extLst>
                </a:gridCol>
                <a:gridCol w="946369">
                  <a:extLst>
                    <a:ext uri="{9D8B030D-6E8A-4147-A177-3AD203B41FA5}">
                      <a16:colId xmlns:a16="http://schemas.microsoft.com/office/drawing/2014/main" val="3445159552"/>
                    </a:ext>
                  </a:extLst>
                </a:gridCol>
                <a:gridCol w="1180007">
                  <a:extLst>
                    <a:ext uri="{9D8B030D-6E8A-4147-A177-3AD203B41FA5}">
                      <a16:colId xmlns:a16="http://schemas.microsoft.com/office/drawing/2014/main" val="125294689"/>
                    </a:ext>
                  </a:extLst>
                </a:gridCol>
                <a:gridCol w="1172135">
                  <a:extLst>
                    <a:ext uri="{9D8B030D-6E8A-4147-A177-3AD203B41FA5}">
                      <a16:colId xmlns:a16="http://schemas.microsoft.com/office/drawing/2014/main" val="3158574118"/>
                    </a:ext>
                  </a:extLst>
                </a:gridCol>
                <a:gridCol w="649299">
                  <a:extLst>
                    <a:ext uri="{9D8B030D-6E8A-4147-A177-3AD203B41FA5}">
                      <a16:colId xmlns:a16="http://schemas.microsoft.com/office/drawing/2014/main" val="520514323"/>
                    </a:ext>
                  </a:extLst>
                </a:gridCol>
              </a:tblGrid>
              <a:tr h="15147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haracteristics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800" dirty="0">
                        <a:effectLst/>
                        <a:latin typeface="Calibri" panose="020F0502020204030204" pitchFamily="34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arly pregnancy los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Late pregnancy los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Total pregnancy los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4105232"/>
                  </a:ext>
                </a:extLst>
              </a:tr>
              <a:tr h="21428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5% C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5% C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5% C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1694243"/>
                  </a:ext>
                </a:extLst>
              </a:tr>
              <a:tr h="151479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ge of woma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lt;2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4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279771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0-2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 6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8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, 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, 1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616210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5-29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3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8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1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914088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0 and abov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.4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,1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6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5, 1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810550"/>
                  </a:ext>
                </a:extLst>
              </a:tr>
              <a:tr h="151479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ducation of the woman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 education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0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1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8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8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7, 19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1679845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incomplet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,8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9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, 1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1373695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complet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6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8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6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3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21413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incomplet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7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8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4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2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8092136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complete or higher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2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,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.6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, 1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4670850"/>
                  </a:ext>
                </a:extLst>
              </a:tr>
              <a:tr h="151479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ofession of woman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t involved in income generating activity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6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2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177963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Involved in income generating activity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.2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,1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8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5.0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4, 16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724913"/>
                  </a:ext>
                </a:extLst>
              </a:tr>
              <a:tr h="73841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egnancy order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2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, 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.0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,3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2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 6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8176065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 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6360479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.3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,1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 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5.8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5, 1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3922643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gt;=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.9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, 1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2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, 1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4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3, 2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8968692"/>
                  </a:ext>
                </a:extLst>
              </a:tr>
              <a:tr h="151479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History of pregnancy los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0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 7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0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 5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0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959041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Ye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, 8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8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17, 18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777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49617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4A3527E-7354-4EE1-B623-A25768738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171874"/>
              </p:ext>
            </p:extLst>
          </p:nvPr>
        </p:nvGraphicFramePr>
        <p:xfrm>
          <a:off x="314960" y="1375029"/>
          <a:ext cx="11562080" cy="5482971"/>
        </p:xfrm>
        <a:graphic>
          <a:graphicData uri="http://schemas.openxmlformats.org/drawingml/2006/table">
            <a:tbl>
              <a:tblPr firstRow="1" firstCol="1" bandRow="1"/>
              <a:tblGrid>
                <a:gridCol w="1945244">
                  <a:extLst>
                    <a:ext uri="{9D8B030D-6E8A-4147-A177-3AD203B41FA5}">
                      <a16:colId xmlns:a16="http://schemas.microsoft.com/office/drawing/2014/main" val="2374121633"/>
                    </a:ext>
                  </a:extLst>
                </a:gridCol>
                <a:gridCol w="3662093">
                  <a:extLst>
                    <a:ext uri="{9D8B030D-6E8A-4147-A177-3AD203B41FA5}">
                      <a16:colId xmlns:a16="http://schemas.microsoft.com/office/drawing/2014/main" val="2102238406"/>
                    </a:ext>
                  </a:extLst>
                </a:gridCol>
                <a:gridCol w="871553">
                  <a:extLst>
                    <a:ext uri="{9D8B030D-6E8A-4147-A177-3AD203B41FA5}">
                      <a16:colId xmlns:a16="http://schemas.microsoft.com/office/drawing/2014/main" val="3252905065"/>
                    </a:ext>
                  </a:extLst>
                </a:gridCol>
                <a:gridCol w="1135380">
                  <a:extLst>
                    <a:ext uri="{9D8B030D-6E8A-4147-A177-3AD203B41FA5}">
                      <a16:colId xmlns:a16="http://schemas.microsoft.com/office/drawing/2014/main" val="2939698324"/>
                    </a:ext>
                  </a:extLst>
                </a:gridCol>
                <a:gridCol w="946369">
                  <a:extLst>
                    <a:ext uri="{9D8B030D-6E8A-4147-A177-3AD203B41FA5}">
                      <a16:colId xmlns:a16="http://schemas.microsoft.com/office/drawing/2014/main" val="1117200956"/>
                    </a:ext>
                  </a:extLst>
                </a:gridCol>
                <a:gridCol w="1180007">
                  <a:extLst>
                    <a:ext uri="{9D8B030D-6E8A-4147-A177-3AD203B41FA5}">
                      <a16:colId xmlns:a16="http://schemas.microsoft.com/office/drawing/2014/main" val="24549492"/>
                    </a:ext>
                  </a:extLst>
                </a:gridCol>
                <a:gridCol w="1172135">
                  <a:extLst>
                    <a:ext uri="{9D8B030D-6E8A-4147-A177-3AD203B41FA5}">
                      <a16:colId xmlns:a16="http://schemas.microsoft.com/office/drawing/2014/main" val="3373003493"/>
                    </a:ext>
                  </a:extLst>
                </a:gridCol>
                <a:gridCol w="649299">
                  <a:extLst>
                    <a:ext uri="{9D8B030D-6E8A-4147-A177-3AD203B41FA5}">
                      <a16:colId xmlns:a16="http://schemas.microsoft.com/office/drawing/2014/main" val="3369995797"/>
                    </a:ext>
                  </a:extLst>
                </a:gridCol>
              </a:tblGrid>
              <a:tr h="151479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ofession of Husband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t involved in income generating activity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,1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,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.1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, 1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9270585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Involved in income generating activity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9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8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9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6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3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108329"/>
                  </a:ext>
                </a:extLst>
              </a:tr>
              <a:tr h="73841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missing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8439538"/>
                  </a:ext>
                </a:extLst>
              </a:tr>
              <a:tr h="151479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ge of Husband/Partner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lt;2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2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, 1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0916777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5-29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0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,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,1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385196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0-3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3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9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614406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5-39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4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8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8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.2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3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4902401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0 and abov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,1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8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,8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8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7, 19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585261"/>
                  </a:ext>
                </a:extLst>
              </a:tr>
              <a:tr h="151479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ducation of the husband/partner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 education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8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.9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, 1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0690903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incomplet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9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5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3029646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complet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2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653713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incomplet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2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.0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3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3729379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complete or higher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9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4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6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, 1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9069082"/>
                  </a:ext>
                </a:extLst>
              </a:tr>
              <a:tr h="151479">
                <a:tc rowSpan="5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Wealth quintil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Lowest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93208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2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8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0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3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177182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Middl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4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4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.8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854677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Fourth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 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9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6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0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7673479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Highest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7.3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8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3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6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635522"/>
                  </a:ext>
                </a:extLst>
              </a:tr>
              <a:tr h="151479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ofession of Husband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t involved in income generating activity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8,1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6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,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3.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2, 14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3675319"/>
                  </a:ext>
                </a:extLst>
              </a:tr>
              <a:tr h="1514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Involved in income generating activity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9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8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9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6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3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2247742"/>
                  </a:ext>
                </a:extLst>
              </a:tr>
              <a:tr h="73841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missing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591428"/>
                  </a:ext>
                </a:extLst>
              </a:tr>
              <a:tr h="15147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Overall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effectLst/>
                        <a:latin typeface="Calibri" panose="020F0502020204030204" pitchFamily="34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7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,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7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,5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.4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1, 1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141469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53728BE-E179-4177-8F3C-4404AF4CF0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772445"/>
              </p:ext>
            </p:extLst>
          </p:nvPr>
        </p:nvGraphicFramePr>
        <p:xfrm>
          <a:off x="309880" y="357123"/>
          <a:ext cx="11562080" cy="1017906"/>
        </p:xfrm>
        <a:graphic>
          <a:graphicData uri="http://schemas.openxmlformats.org/drawingml/2006/table">
            <a:tbl>
              <a:tblPr firstRow="1" firstCol="1" bandRow="1"/>
              <a:tblGrid>
                <a:gridCol w="1945244">
                  <a:extLst>
                    <a:ext uri="{9D8B030D-6E8A-4147-A177-3AD203B41FA5}">
                      <a16:colId xmlns:a16="http://schemas.microsoft.com/office/drawing/2014/main" val="4112284654"/>
                    </a:ext>
                  </a:extLst>
                </a:gridCol>
                <a:gridCol w="3662093">
                  <a:extLst>
                    <a:ext uri="{9D8B030D-6E8A-4147-A177-3AD203B41FA5}">
                      <a16:colId xmlns:a16="http://schemas.microsoft.com/office/drawing/2014/main" val="4166350748"/>
                    </a:ext>
                  </a:extLst>
                </a:gridCol>
                <a:gridCol w="871553">
                  <a:extLst>
                    <a:ext uri="{9D8B030D-6E8A-4147-A177-3AD203B41FA5}">
                      <a16:colId xmlns:a16="http://schemas.microsoft.com/office/drawing/2014/main" val="2367654547"/>
                    </a:ext>
                  </a:extLst>
                </a:gridCol>
                <a:gridCol w="1135380">
                  <a:extLst>
                    <a:ext uri="{9D8B030D-6E8A-4147-A177-3AD203B41FA5}">
                      <a16:colId xmlns:a16="http://schemas.microsoft.com/office/drawing/2014/main" val="1114903899"/>
                    </a:ext>
                  </a:extLst>
                </a:gridCol>
                <a:gridCol w="946369">
                  <a:extLst>
                    <a:ext uri="{9D8B030D-6E8A-4147-A177-3AD203B41FA5}">
                      <a16:colId xmlns:a16="http://schemas.microsoft.com/office/drawing/2014/main" val="3557243599"/>
                    </a:ext>
                  </a:extLst>
                </a:gridCol>
                <a:gridCol w="1180007">
                  <a:extLst>
                    <a:ext uri="{9D8B030D-6E8A-4147-A177-3AD203B41FA5}">
                      <a16:colId xmlns:a16="http://schemas.microsoft.com/office/drawing/2014/main" val="3891104738"/>
                    </a:ext>
                  </a:extLst>
                </a:gridCol>
                <a:gridCol w="1172135">
                  <a:extLst>
                    <a:ext uri="{9D8B030D-6E8A-4147-A177-3AD203B41FA5}">
                      <a16:colId xmlns:a16="http://schemas.microsoft.com/office/drawing/2014/main" val="4033902054"/>
                    </a:ext>
                  </a:extLst>
                </a:gridCol>
                <a:gridCol w="649299">
                  <a:extLst>
                    <a:ext uri="{9D8B030D-6E8A-4147-A177-3AD203B41FA5}">
                      <a16:colId xmlns:a16="http://schemas.microsoft.com/office/drawing/2014/main" val="3721610505"/>
                    </a:ext>
                  </a:extLst>
                </a:gridCol>
              </a:tblGrid>
              <a:tr h="15147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haracteristics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800" dirty="0">
                        <a:effectLst/>
                        <a:latin typeface="Calibri" panose="020F0502020204030204" pitchFamily="34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arly pregnancy los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Late pregnancy los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Total pregnancy los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8646095"/>
                  </a:ext>
                </a:extLst>
              </a:tr>
              <a:tr h="21428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5% C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5% C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95% C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26072" marR="26072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48409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34072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01F1762-3293-449B-A5E0-4730687F9D1E}"/>
              </a:ext>
            </a:extLst>
          </p:cNvPr>
          <p:cNvSpPr txBox="1">
            <a:spLocks/>
          </p:cNvSpPr>
          <p:nvPr/>
        </p:nvSpPr>
        <p:spPr>
          <a:xfrm>
            <a:off x="609600" y="2244936"/>
            <a:ext cx="10972800" cy="179998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>
                <a:solidFill>
                  <a:schemeClr val="accent6">
                    <a:lumMod val="20000"/>
                    <a:lumOff val="8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. What are the determinants of pregnancy loss?</a:t>
            </a:r>
            <a:endParaRPr lang="en-US" sz="2800" dirty="0">
              <a:solidFill>
                <a:schemeClr val="accent6">
                  <a:lumMod val="20000"/>
                  <a:lumOff val="8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639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935606A-C6F4-47DD-ABC9-A9CC86389C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23220"/>
              </p:ext>
            </p:extLst>
          </p:nvPr>
        </p:nvGraphicFramePr>
        <p:xfrm>
          <a:off x="203200" y="284480"/>
          <a:ext cx="11795760" cy="6085519"/>
        </p:xfrm>
        <a:graphic>
          <a:graphicData uri="http://schemas.openxmlformats.org/drawingml/2006/table">
            <a:tbl>
              <a:tblPr firstRow="1" firstCol="1" bandRow="1"/>
              <a:tblGrid>
                <a:gridCol w="2042160">
                  <a:extLst>
                    <a:ext uri="{9D8B030D-6E8A-4147-A177-3AD203B41FA5}">
                      <a16:colId xmlns:a16="http://schemas.microsoft.com/office/drawing/2014/main" val="740144887"/>
                    </a:ext>
                  </a:extLst>
                </a:gridCol>
                <a:gridCol w="4470400">
                  <a:extLst>
                    <a:ext uri="{9D8B030D-6E8A-4147-A177-3AD203B41FA5}">
                      <a16:colId xmlns:a16="http://schemas.microsoft.com/office/drawing/2014/main" val="920012957"/>
                    </a:ext>
                  </a:extLst>
                </a:gridCol>
                <a:gridCol w="680720">
                  <a:extLst>
                    <a:ext uri="{9D8B030D-6E8A-4147-A177-3AD203B41FA5}">
                      <a16:colId xmlns:a16="http://schemas.microsoft.com/office/drawing/2014/main" val="2652087303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3657551706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1310418639"/>
                    </a:ext>
                  </a:extLst>
                </a:gridCol>
                <a:gridCol w="792480">
                  <a:extLst>
                    <a:ext uri="{9D8B030D-6E8A-4147-A177-3AD203B41FA5}">
                      <a16:colId xmlns:a16="http://schemas.microsoft.com/office/drawing/2014/main" val="3835788000"/>
                    </a:ext>
                  </a:extLst>
                </a:gridCol>
                <a:gridCol w="751840">
                  <a:extLst>
                    <a:ext uri="{9D8B030D-6E8A-4147-A177-3AD203B41FA5}">
                      <a16:colId xmlns:a16="http://schemas.microsoft.com/office/drawing/2014/main" val="4251347127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458567345"/>
                    </a:ext>
                  </a:extLst>
                </a:gridCol>
              </a:tblGrid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haracteristic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egnancy loss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207732"/>
                  </a:ext>
                </a:extLst>
              </a:tr>
              <a:tr h="112145">
                <a:tc>
                  <a:txBody>
                    <a:bodyPr/>
                    <a:lstStyle/>
                    <a:p>
                      <a:endParaRPr lang="en-US" sz="1600" dirty="0">
                        <a:effectLst/>
                        <a:latin typeface="Calibri" panose="020F0502020204030204" pitchFamily="34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OR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-valu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I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OR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-valu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I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511100"/>
                  </a:ext>
                </a:extLst>
              </a:tr>
              <a:tr h="95090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ge of woman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lt;20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8347172"/>
                  </a:ext>
                </a:extLst>
              </a:tr>
              <a:tr h="950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0-2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8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9,1.0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844007"/>
                  </a:ext>
                </a:extLst>
              </a:tr>
              <a:tr h="2067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5-2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7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67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8,1.17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0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1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8,.70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691488"/>
                  </a:ext>
                </a:extLst>
              </a:tr>
              <a:tr h="950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0 and abov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5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03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33,1.7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.19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2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16, 4.12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198622"/>
                  </a:ext>
                </a:extLst>
              </a:tr>
              <a:tr h="29508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ge of Husband/Partner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lt;2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3535231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5-2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0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7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8, 1.1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2,1.0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8893081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0-3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0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2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95, 1.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1,1.2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9680035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5-3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94, 1.5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53,1.8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2069785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gt;=40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9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0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56, 2.4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3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3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6,2.8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4109375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ducation of the woman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 education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282312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incomplet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2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56, .9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3, .9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11084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complet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6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3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43, .92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49, 1.1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164158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incomplet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5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1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47, .7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7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1, 1.0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2073443"/>
                  </a:ext>
                </a:extLst>
              </a:tr>
              <a:tr h="29508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complete or higher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4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06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37, .6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, 1.3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029105"/>
                  </a:ext>
                </a:extLst>
              </a:tr>
              <a:tr h="395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Education of the husband/partner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 education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805225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incomplet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8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8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4, .9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84, 1.17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2471414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imary complet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08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1, .8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89, 1.1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441125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incomplet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8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3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3, .9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2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6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98, 1.5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8801151"/>
                  </a:ext>
                </a:extLst>
              </a:tr>
              <a:tr h="29508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ary complete or higher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41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2, .8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2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, 1.5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21346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34613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4DBE327-E96A-4C13-8E93-ABA376EC90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6831544"/>
              </p:ext>
            </p:extLst>
          </p:nvPr>
        </p:nvGraphicFramePr>
        <p:xfrm>
          <a:off x="198120" y="1092327"/>
          <a:ext cx="11795760" cy="3812591"/>
        </p:xfrm>
        <a:graphic>
          <a:graphicData uri="http://schemas.openxmlformats.org/drawingml/2006/table">
            <a:tbl>
              <a:tblPr firstRow="1" firstCol="1" bandRow="1"/>
              <a:tblGrid>
                <a:gridCol w="2042160">
                  <a:extLst>
                    <a:ext uri="{9D8B030D-6E8A-4147-A177-3AD203B41FA5}">
                      <a16:colId xmlns:a16="http://schemas.microsoft.com/office/drawing/2014/main" val="2817078186"/>
                    </a:ext>
                  </a:extLst>
                </a:gridCol>
                <a:gridCol w="4470400">
                  <a:extLst>
                    <a:ext uri="{9D8B030D-6E8A-4147-A177-3AD203B41FA5}">
                      <a16:colId xmlns:a16="http://schemas.microsoft.com/office/drawing/2014/main" val="1818966777"/>
                    </a:ext>
                  </a:extLst>
                </a:gridCol>
                <a:gridCol w="680720">
                  <a:extLst>
                    <a:ext uri="{9D8B030D-6E8A-4147-A177-3AD203B41FA5}">
                      <a16:colId xmlns:a16="http://schemas.microsoft.com/office/drawing/2014/main" val="239675888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3359305336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3824836485"/>
                    </a:ext>
                  </a:extLst>
                </a:gridCol>
                <a:gridCol w="792480">
                  <a:extLst>
                    <a:ext uri="{9D8B030D-6E8A-4147-A177-3AD203B41FA5}">
                      <a16:colId xmlns:a16="http://schemas.microsoft.com/office/drawing/2014/main" val="1918765767"/>
                    </a:ext>
                  </a:extLst>
                </a:gridCol>
                <a:gridCol w="751840">
                  <a:extLst>
                    <a:ext uri="{9D8B030D-6E8A-4147-A177-3AD203B41FA5}">
                      <a16:colId xmlns:a16="http://schemas.microsoft.com/office/drawing/2014/main" val="557602994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1071762737"/>
                    </a:ext>
                  </a:extLst>
                </a:gridCol>
              </a:tblGrid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Wealth quintil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Lowest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488925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Second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1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17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96, 1.2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1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2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92,1.3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305268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Middl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6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8, 1.1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06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4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89,1.2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544948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Fourth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0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8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8, 1.30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1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2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9,1.4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000048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Highest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0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6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78, 1.3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2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95,1.5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36018"/>
                  </a:ext>
                </a:extLst>
              </a:tr>
              <a:tr h="1950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egnancy order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0772662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.2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1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.02, 2.5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9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6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3, 1.4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141819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,3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1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.89, 3.96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2.7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13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79, 4.3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276904"/>
                  </a:ext>
                </a:extLst>
              </a:tr>
              <a:tr h="95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&gt;=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5.7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1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4.79, 6.87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6.2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001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3.72, 10.4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8245248"/>
                  </a:ext>
                </a:extLst>
              </a:tr>
              <a:tr h="395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ofession of woman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t involved in income generating activity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398957"/>
                  </a:ext>
                </a:extLst>
              </a:tr>
              <a:tr h="395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Involved in income generating activity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4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2</a:t>
                      </a:r>
                      <a:endParaRPr lang="en-US" sz="1600" dirty="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06, 1.88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1.1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82, 1.5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215609"/>
                  </a:ext>
                </a:extLst>
              </a:tr>
              <a:tr h="395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ofession of Husband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Not involved in income generating activity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ref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6939544"/>
                  </a:ext>
                </a:extLst>
              </a:tr>
              <a:tr h="395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Involved in income generating activity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8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65, 1.0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75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0.09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.53,1.06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2801860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78BFC8D-2FEA-4C47-9D7C-57F105C3C6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993177"/>
              </p:ext>
            </p:extLst>
          </p:nvPr>
        </p:nvGraphicFramePr>
        <p:xfrm>
          <a:off x="198120" y="596265"/>
          <a:ext cx="11795760" cy="496062"/>
        </p:xfrm>
        <a:graphic>
          <a:graphicData uri="http://schemas.openxmlformats.org/drawingml/2006/table">
            <a:tbl>
              <a:tblPr firstRow="1" firstCol="1" bandRow="1"/>
              <a:tblGrid>
                <a:gridCol w="2042160">
                  <a:extLst>
                    <a:ext uri="{9D8B030D-6E8A-4147-A177-3AD203B41FA5}">
                      <a16:colId xmlns:a16="http://schemas.microsoft.com/office/drawing/2014/main" val="2032171632"/>
                    </a:ext>
                  </a:extLst>
                </a:gridCol>
                <a:gridCol w="4470400">
                  <a:extLst>
                    <a:ext uri="{9D8B030D-6E8A-4147-A177-3AD203B41FA5}">
                      <a16:colId xmlns:a16="http://schemas.microsoft.com/office/drawing/2014/main" val="2491402498"/>
                    </a:ext>
                  </a:extLst>
                </a:gridCol>
                <a:gridCol w="680720">
                  <a:extLst>
                    <a:ext uri="{9D8B030D-6E8A-4147-A177-3AD203B41FA5}">
                      <a16:colId xmlns:a16="http://schemas.microsoft.com/office/drawing/2014/main" val="2868453021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1322294430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1632591505"/>
                    </a:ext>
                  </a:extLst>
                </a:gridCol>
                <a:gridCol w="792480">
                  <a:extLst>
                    <a:ext uri="{9D8B030D-6E8A-4147-A177-3AD203B41FA5}">
                      <a16:colId xmlns:a16="http://schemas.microsoft.com/office/drawing/2014/main" val="3769421602"/>
                    </a:ext>
                  </a:extLst>
                </a:gridCol>
                <a:gridCol w="751840">
                  <a:extLst>
                    <a:ext uri="{9D8B030D-6E8A-4147-A177-3AD203B41FA5}">
                      <a16:colId xmlns:a16="http://schemas.microsoft.com/office/drawing/2014/main" val="563068706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4075853876"/>
                    </a:ext>
                  </a:extLst>
                </a:gridCol>
              </a:tblGrid>
              <a:tr h="19407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haracteristic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regnancy los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125741"/>
                  </a:ext>
                </a:extLst>
              </a:tr>
              <a:tr h="112145">
                <a:tc>
                  <a:txBody>
                    <a:bodyPr/>
                    <a:lstStyle/>
                    <a:p>
                      <a:endParaRPr lang="en-US" sz="1600" dirty="0">
                        <a:effectLst/>
                        <a:latin typeface="Calibri" panose="020F0502020204030204" pitchFamily="34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 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OR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-valu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I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AOR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p-valu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Vrinda" panose="020B0502040204020203" pitchFamily="34" charset="0"/>
                        </a:rPr>
                        <a:t>CI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Vrinda" panose="020B0502040204020203" pitchFamily="34" charset="0"/>
                      </a:endParaRPr>
                    </a:p>
                  </a:txBody>
                  <a:tcPr marL="34744" marR="34744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4459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252556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C4B75F9-40AD-2661-332F-809F305D1DDE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596131"/>
              </p:ext>
            </p:extLst>
          </p:nvPr>
        </p:nvGraphicFramePr>
        <p:xfrm>
          <a:off x="0" y="720192"/>
          <a:ext cx="12192000" cy="6137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A1BD01E-F478-70B8-0951-C3E2CA45754D}"/>
              </a:ext>
            </a:extLst>
          </p:cNvPr>
          <p:cNvSpPr txBox="1"/>
          <p:nvPr/>
        </p:nvSpPr>
        <p:spPr>
          <a:xfrm>
            <a:off x="572511" y="0"/>
            <a:ext cx="110476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Vrinda" panose="020B0502040204020203" pitchFamily="34" charset="0"/>
              </a:rPr>
              <a:t>Relationship between pregnancy loss and previous history of pregnancy loss, presented in Adjusted Odds Ratio with 95% confidence interv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5025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3">
            <a:extLst>
              <a:ext uri="{FF2B5EF4-FFF2-40B4-BE49-F238E27FC236}">
                <a16:creationId xmlns:a16="http://schemas.microsoft.com/office/drawing/2014/main" id="{490FC5FB-05BE-46C8-930E-61D8BE8C734D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A69B09-C183-4BE2-B9CB-82F3F158B662}"/>
              </a:ext>
            </a:extLst>
          </p:cNvPr>
          <p:cNvSpPr txBox="1"/>
          <p:nvPr/>
        </p:nvSpPr>
        <p:spPr>
          <a:xfrm>
            <a:off x="4334773" y="2851680"/>
            <a:ext cx="89650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18730297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F5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FC80269-13F3-4BB3-9A02-E8EB8A5AA602}"/>
              </a:ext>
            </a:extLst>
          </p:cNvPr>
          <p:cNvSpPr txBox="1"/>
          <p:nvPr/>
        </p:nvSpPr>
        <p:spPr>
          <a:xfrm>
            <a:off x="4371893" y="2934468"/>
            <a:ext cx="89650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scussion</a:t>
            </a:r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5294939B-89E3-4455-96AB-CBBB922290CE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3066612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F5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922BA85-FFBA-4F98-9BCD-BD79D0224FBC}"/>
              </a:ext>
            </a:extLst>
          </p:cNvPr>
          <p:cNvSpPr txBox="1"/>
          <p:nvPr/>
        </p:nvSpPr>
        <p:spPr>
          <a:xfrm>
            <a:off x="3897123" y="2533834"/>
            <a:ext cx="8055978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risk of pregnancy loss is highest close to </a:t>
            </a:r>
            <a:r>
              <a:rPr lang="en-US" sz="2000" b="1" i="1" dirty="0">
                <a:solidFill>
                  <a:srgbClr val="46665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 weeks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gestatio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b="1" i="1" dirty="0">
                <a:solidFill>
                  <a:srgbClr val="46665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vancing maternal age, education</a:t>
            </a:r>
            <a:r>
              <a:rPr lang="en-US" sz="2000" dirty="0">
                <a:solidFill>
                  <a:srgbClr val="46665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en-US" sz="2000" dirty="0">
                <a:solidFill>
                  <a:srgbClr val="46665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i="1" dirty="0">
                <a:solidFill>
                  <a:srgbClr val="46665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gnancy order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re associated with PL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our study the there was </a:t>
            </a:r>
            <a:r>
              <a:rPr lang="en-US" sz="2000" b="1" i="1" dirty="0">
                <a:solidFill>
                  <a:srgbClr val="46665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 impact of Covid-19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 PL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C1E985A3-8EE1-4B63-A2DF-5511F17B34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702636">
            <a:off x="405547" y="2337493"/>
            <a:ext cx="3304424" cy="2183013"/>
          </a:xfrm>
          <a:prstGeom prst="rect">
            <a:avLst/>
          </a:prstGeom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C6DAC392-9FE9-49BE-B23B-5460B89A4D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80956" y="1368456"/>
            <a:ext cx="1175227" cy="10062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24FE76-CD24-48AE-A80D-3F91C39E0FD0}"/>
              </a:ext>
            </a:extLst>
          </p:cNvPr>
          <p:cNvSpPr/>
          <p:nvPr/>
        </p:nvSpPr>
        <p:spPr>
          <a:xfrm>
            <a:off x="2449437" y="1548434"/>
            <a:ext cx="39882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Times" pitchFamily="2" charset="0"/>
                <a:ea typeface="Calibri" panose="020F0502020204030204" pitchFamily="34" charset="0"/>
              </a:rPr>
              <a:t>Estimated 29 abortions per 1000 women aged 15 to 49 years</a:t>
            </a:r>
            <a:r>
              <a:rPr lang="en-US" sz="2000" dirty="0">
                <a:latin typeface="Times" pitchFamily="2" charset="0"/>
              </a:rPr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A6147D-1489-4E96-9024-5F38016AECAC}"/>
              </a:ext>
            </a:extLst>
          </p:cNvPr>
          <p:cNvSpPr/>
          <p:nvPr/>
        </p:nvSpPr>
        <p:spPr>
          <a:xfrm>
            <a:off x="803751" y="3013500"/>
            <a:ext cx="216936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In Bangladesh , there is are no estimation of miscarriage</a:t>
            </a:r>
          </a:p>
        </p:txBody>
      </p:sp>
      <p:sp>
        <p:nvSpPr>
          <p:cNvPr id="8" name="Freeform 3">
            <a:extLst>
              <a:ext uri="{FF2B5EF4-FFF2-40B4-BE49-F238E27FC236}">
                <a16:creationId xmlns:a16="http://schemas.microsoft.com/office/drawing/2014/main" id="{00FACA49-8C92-49F8-8312-A6B2DC3DD056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37927698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F5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2E9959C-5369-494F-81FB-D043D74D5E7C}"/>
              </a:ext>
            </a:extLst>
          </p:cNvPr>
          <p:cNvSpPr txBox="1"/>
          <p:nvPr/>
        </p:nvSpPr>
        <p:spPr>
          <a:xfrm>
            <a:off x="1028387" y="2238129"/>
            <a:ext cx="58690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cddr,b has more than </a:t>
            </a:r>
            <a:r>
              <a:rPr lang="en-US" b="1" i="1" dirty="0">
                <a:solidFill>
                  <a:srgbClr val="628F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0 years of experience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conducting HD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liakandi HDSS maintains a </a:t>
            </a:r>
            <a:r>
              <a:rPr lang="en-US" b="1" i="1" dirty="0">
                <a:solidFill>
                  <a:srgbClr val="628F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gnancy Surveillance System (PSS)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 well-trained data collector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725F251-F404-49B5-B72D-8345A3C88806}"/>
              </a:ext>
            </a:extLst>
          </p:cNvPr>
          <p:cNvCxnSpPr>
            <a:cxnSpLocks/>
          </p:cNvCxnSpPr>
          <p:nvPr/>
        </p:nvCxnSpPr>
        <p:spPr>
          <a:xfrm flipH="1">
            <a:off x="6798365" y="2137538"/>
            <a:ext cx="2" cy="2825623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96CC3AE-1F5B-4D2D-8E04-D8BC0131988A}"/>
              </a:ext>
            </a:extLst>
          </p:cNvPr>
          <p:cNvSpPr/>
          <p:nvPr/>
        </p:nvSpPr>
        <p:spPr>
          <a:xfrm>
            <a:off x="6361043" y="1124911"/>
            <a:ext cx="2695284" cy="6463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E2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9E2161"/>
                </a:solidFill>
              </a:rPr>
              <a:t>Recommendation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AFDFF90-94A2-4DA9-9A72-342198968307}"/>
              </a:ext>
            </a:extLst>
          </p:cNvPr>
          <p:cNvSpPr/>
          <p:nvPr/>
        </p:nvSpPr>
        <p:spPr>
          <a:xfrm>
            <a:off x="848138" y="1154095"/>
            <a:ext cx="2829340" cy="6463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E2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rgbClr val="9E2161"/>
                </a:solidFill>
              </a:rPr>
              <a:t>Strengths and limit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8E2B9C-595D-40A2-9916-343F1514D892}"/>
              </a:ext>
            </a:extLst>
          </p:cNvPr>
          <p:cNvSpPr txBox="1"/>
          <p:nvPr/>
        </p:nvSpPr>
        <p:spPr>
          <a:xfrm>
            <a:off x="6897436" y="1950685"/>
            <a:ext cx="50556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jority of pregnancy loss occurred </a:t>
            </a:r>
            <a:r>
              <a:rPr lang="en-US" b="1" i="1" dirty="0">
                <a:solidFill>
                  <a:srgbClr val="628F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ring the first trimester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refore maternal health program should take special </a:t>
            </a:r>
            <a:r>
              <a:rPr lang="en-US" b="1" i="1" dirty="0">
                <a:solidFill>
                  <a:srgbClr val="628F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itiatives during ANC around this time for counselling</a:t>
            </a:r>
          </a:p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f </a:t>
            </a:r>
            <a:r>
              <a:rPr lang="en-US" b="1" i="1" dirty="0">
                <a:solidFill>
                  <a:srgbClr val="628F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gnancy order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 3 or more the ANC provider should give special atten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4EFC61-51CF-492E-B4B3-BF4881FB0F12}"/>
              </a:ext>
            </a:extLst>
          </p:cNvPr>
          <p:cNvSpPr/>
          <p:nvPr/>
        </p:nvSpPr>
        <p:spPr>
          <a:xfrm>
            <a:off x="1028392" y="3894900"/>
            <a:ext cx="58690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Effect of several biological and social risk-factors could </a:t>
            </a:r>
            <a:r>
              <a:rPr lang="en-US" b="1" i="1" dirty="0">
                <a:solidFill>
                  <a:srgbClr val="628F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 be explored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e to the unavailability of data</a:t>
            </a:r>
          </a:p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DC07509-4D69-4AAF-882E-C0C07AF174CF}"/>
              </a:ext>
            </a:extLst>
          </p:cNvPr>
          <p:cNvCxnSpPr>
            <a:cxnSpLocks/>
          </p:cNvCxnSpPr>
          <p:nvPr/>
        </p:nvCxnSpPr>
        <p:spPr>
          <a:xfrm>
            <a:off x="1028387" y="2137538"/>
            <a:ext cx="0" cy="3514724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3">
            <a:extLst>
              <a:ext uri="{FF2B5EF4-FFF2-40B4-BE49-F238E27FC236}">
                <a16:creationId xmlns:a16="http://schemas.microsoft.com/office/drawing/2014/main" id="{C0B8FF54-C0C4-4AE5-96E4-0DDAD01F4604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41831706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F5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>
            <a:extLst>
              <a:ext uri="{FF2B5EF4-FFF2-40B4-BE49-F238E27FC236}">
                <a16:creationId xmlns:a16="http://schemas.microsoft.com/office/drawing/2014/main" id="{B7AFA151-7BBA-43DF-B053-5C3825245840}"/>
              </a:ext>
            </a:extLst>
          </p:cNvPr>
          <p:cNvSpPr/>
          <p:nvPr/>
        </p:nvSpPr>
        <p:spPr>
          <a:xfrm rot="16200000">
            <a:off x="2662049" y="-2671951"/>
            <a:ext cx="6867902" cy="12192000"/>
          </a:xfrm>
          <a:prstGeom prst="rtTriangle">
            <a:avLst/>
          </a:prstGeom>
          <a:solidFill>
            <a:srgbClr val="F2EF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69FBDFC1-EB8D-4814-8A30-7EBE52D9942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tTriangle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2"/>
          <p:cNvGrpSpPr/>
          <p:nvPr/>
        </p:nvGrpSpPr>
        <p:grpSpPr>
          <a:xfrm>
            <a:off x="238900" y="233464"/>
            <a:ext cx="11714202" cy="6391072"/>
            <a:chOff x="0" y="0"/>
            <a:chExt cx="12338234" cy="6731534"/>
          </a:xfrm>
          <a:solidFill>
            <a:schemeClr val="tx1"/>
          </a:solidFill>
        </p:grpSpPr>
        <p:sp>
          <p:nvSpPr>
            <p:cNvPr id="3" name="Freeform 3"/>
            <p:cNvSpPr/>
            <p:nvPr/>
          </p:nvSpPr>
          <p:spPr>
            <a:xfrm>
              <a:off x="0" y="0"/>
              <a:ext cx="12338234" cy="6731534"/>
            </a:xfrm>
            <a:custGeom>
              <a:avLst/>
              <a:gdLst/>
              <a:ahLst/>
              <a:cxnLst/>
              <a:rect l="l" t="t" r="r" b="b"/>
              <a:pathLst>
                <a:path w="12338234" h="6731534">
                  <a:moveTo>
                    <a:pt x="0" y="0"/>
                  </a:moveTo>
                  <a:lnTo>
                    <a:pt x="0" y="6731534"/>
                  </a:lnTo>
                  <a:lnTo>
                    <a:pt x="12338234" y="6731534"/>
                  </a:lnTo>
                  <a:lnTo>
                    <a:pt x="12338234" y="0"/>
                  </a:lnTo>
                  <a:lnTo>
                    <a:pt x="0" y="0"/>
                  </a:lnTo>
                  <a:close/>
                  <a:moveTo>
                    <a:pt x="12277275" y="6670573"/>
                  </a:moveTo>
                  <a:lnTo>
                    <a:pt x="59690" y="6670573"/>
                  </a:lnTo>
                  <a:lnTo>
                    <a:pt x="59690" y="59690"/>
                  </a:lnTo>
                  <a:lnTo>
                    <a:pt x="12277275" y="59690"/>
                  </a:lnTo>
                  <a:lnTo>
                    <a:pt x="12277275" y="6670573"/>
                  </a:lnTo>
                  <a:close/>
                </a:path>
              </a:pathLst>
            </a:custGeom>
            <a:grpFill/>
          </p:spPr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923C1D67-9253-4A46-862D-057FB6F3E236}"/>
              </a:ext>
            </a:extLst>
          </p:cNvPr>
          <p:cNvSpPr/>
          <p:nvPr/>
        </p:nvSpPr>
        <p:spPr>
          <a:xfrm rot="19768261">
            <a:off x="5752805" y="1926811"/>
            <a:ext cx="316682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Thank you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7635F6-26E4-4219-AAD4-00B997DACF27}"/>
              </a:ext>
            </a:extLst>
          </p:cNvPr>
          <p:cNvSpPr/>
          <p:nvPr/>
        </p:nvSpPr>
        <p:spPr>
          <a:xfrm rot="1893491">
            <a:off x="6566835" y="4398073"/>
            <a:ext cx="521341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>
                <a:ln w="2222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  <a:solidFill>
                  <a:schemeClr val="accent6">
                    <a:lumMod val="20000"/>
                    <a:lumOff val="80000"/>
                  </a:schemeClr>
                </a:solidFill>
              </a:rPr>
              <a:t>For your patience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3">
            <a:extLst>
              <a:ext uri="{FF2B5EF4-FFF2-40B4-BE49-F238E27FC236}">
                <a16:creationId xmlns:a16="http://schemas.microsoft.com/office/drawing/2014/main" id="{AC32DF8E-0015-45B7-A6E6-7F78DA9E29BF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  <p:pic>
        <p:nvPicPr>
          <p:cNvPr id="24" name="Picture 11">
            <a:extLst>
              <a:ext uri="{FF2B5EF4-FFF2-40B4-BE49-F238E27FC236}">
                <a16:creationId xmlns:a16="http://schemas.microsoft.com/office/drawing/2014/main" id="{59EC5CA0-C478-481A-BAB7-FC4909A67C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9614558" y="451006"/>
            <a:ext cx="2577442" cy="3535995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8B6EEB44-20C7-488A-9FDB-AABB307C7EC9}"/>
              </a:ext>
            </a:extLst>
          </p:cNvPr>
          <p:cNvGrpSpPr/>
          <p:nvPr/>
        </p:nvGrpSpPr>
        <p:grpSpPr>
          <a:xfrm>
            <a:off x="763599" y="966824"/>
            <a:ext cx="10045511" cy="5543901"/>
            <a:chOff x="999365" y="1913554"/>
            <a:chExt cx="15068268" cy="8315851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1B86488-45EB-4547-B62F-3400964179EB}"/>
                </a:ext>
              </a:extLst>
            </p:cNvPr>
            <p:cNvSpPr/>
            <p:nvPr/>
          </p:nvSpPr>
          <p:spPr>
            <a:xfrm>
              <a:off x="11707423" y="7127965"/>
              <a:ext cx="3432263" cy="310144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0">
              <a:solidFill>
                <a:srgbClr val="C3D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lan effective ANC interventions focusing on counselling and identifying high risk pregnancies </a:t>
              </a:r>
            </a:p>
            <a:p>
              <a:pPr algn="ctr"/>
              <a:endParaRPr lang="en-US" dirty="0"/>
            </a:p>
          </p:txBody>
        </p:sp>
        <p:pic>
          <p:nvPicPr>
            <p:cNvPr id="30" name="Picture 6">
              <a:extLst>
                <a:ext uri="{FF2B5EF4-FFF2-40B4-BE49-F238E27FC236}">
                  <a16:creationId xmlns:a16="http://schemas.microsoft.com/office/drawing/2014/main" id="{3CCB5170-D90F-BE4B-A04F-EBDECFA097D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p:blipFill>
          <p:spPr>
            <a:xfrm>
              <a:off x="9585442" y="6330698"/>
              <a:ext cx="2610228" cy="3898707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1C0C86D-D42F-2B45-920B-7E15C20AC459}"/>
                </a:ext>
              </a:extLst>
            </p:cNvPr>
            <p:cNvSpPr/>
            <p:nvPr/>
          </p:nvSpPr>
          <p:spPr>
            <a:xfrm>
              <a:off x="13066104" y="3713311"/>
              <a:ext cx="3001529" cy="341465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63500">
              <a:solidFill>
                <a:srgbClr val="E46C0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  <a:p>
              <a:pPr algn="ctr"/>
              <a:endParaRPr lang="en-US" sz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endParaRPr lang="en-US" sz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endParaRPr lang="en-US" sz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endParaRPr lang="en-US" sz="1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,194000 induced abortion in 2014</a:t>
              </a:r>
            </a:p>
            <a:p>
              <a:pPr algn="ctr"/>
              <a:endParaRPr lang="en-US" sz="12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8DDFB89-88FA-7148-9672-76D720532BAB}"/>
                </a:ext>
              </a:extLst>
            </p:cNvPr>
            <p:cNvSpPr/>
            <p:nvPr/>
          </p:nvSpPr>
          <p:spPr>
            <a:xfrm>
              <a:off x="11846523" y="7593005"/>
              <a:ext cx="2259671" cy="5694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n-US" sz="1867" dirty="0">
                <a:solidFill>
                  <a:schemeClr val="bg1"/>
                </a:solidFill>
                <a:latin typeface="Times" pitchFamily="2" charset="0"/>
                <a:ea typeface="Times New Roman" panose="02020603050405020304" pitchFamily="18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BECA259-0582-7C40-B0E2-4C2F14650D29}"/>
                </a:ext>
              </a:extLst>
            </p:cNvPr>
            <p:cNvSpPr/>
            <p:nvPr/>
          </p:nvSpPr>
          <p:spPr>
            <a:xfrm>
              <a:off x="13066104" y="4179302"/>
              <a:ext cx="2955324" cy="14314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867" dirty="0">
                  <a:solidFill>
                    <a:schemeClr val="bg1"/>
                  </a:solidFill>
                  <a:latin typeface="Times" pitchFamily="2" charset="0"/>
                  <a:ea typeface="Times New Roman" panose="02020603050405020304" pitchFamily="18" charset="0"/>
                </a:rPr>
                <a:t>Bangladesh has no collective estimation of PL</a:t>
              </a:r>
              <a:endParaRPr lang="en-US" sz="1867" dirty="0">
                <a:solidFill>
                  <a:schemeClr val="bg1"/>
                </a:solidFill>
                <a:latin typeface="Times" pitchFamily="2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94CFD9C-E1F0-2248-ABCD-BAD0A9554C0D}"/>
                </a:ext>
              </a:extLst>
            </p:cNvPr>
            <p:cNvSpPr/>
            <p:nvPr/>
          </p:nvSpPr>
          <p:spPr>
            <a:xfrm>
              <a:off x="4023995" y="1913554"/>
              <a:ext cx="7111541" cy="27469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15000"/>
                </a:lnSpc>
              </a:pPr>
              <a:r>
                <a:rPr lang="en-US" sz="2000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 </a:t>
              </a:r>
              <a:endParaRPr lang="en-US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2000" dirty="0">
                  <a:latin typeface="Lucida Calligraphy" panose="03010101010101010101" pitchFamily="66" charset="0"/>
                  <a:cs typeface="Times New Roman" panose="02020603050405020304" pitchFamily="18" charset="0"/>
                </a:rPr>
                <a:t>Pregnancy Loss (PL)</a:t>
              </a:r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  <a:p>
              <a:pPr algn="ctr"/>
              <a:r>
                <a:rPr lang="en-US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rings physical and psychological suffering to a woman</a:t>
              </a:r>
            </a:p>
            <a:p>
              <a:pPr algn="ctr"/>
              <a:endParaRPr lang="en-US" sz="2000" dirty="0">
                <a:latin typeface="Arial" panose="020B0604020202020204" pitchFamily="34" charset="0"/>
                <a:ea typeface="Times New Roman" panose="02020603050405020304" pitchFamily="18" charset="0"/>
              </a:endParaRPr>
            </a:p>
          </p:txBody>
        </p:sp>
        <p:pic>
          <p:nvPicPr>
            <p:cNvPr id="39" name="Picture 4">
              <a:extLst>
                <a:ext uri="{FF2B5EF4-FFF2-40B4-BE49-F238E27FC236}">
                  <a16:creationId xmlns:a16="http://schemas.microsoft.com/office/drawing/2014/main" id="{3FC8FCE2-6013-0E44-B2D2-BFA79B4B0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>
            <a:xfrm>
              <a:off x="999365" y="1959826"/>
              <a:ext cx="3001529" cy="3000279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BB64385-2841-4C73-AF33-994CC5E41420}"/>
              </a:ext>
            </a:extLst>
          </p:cNvPr>
          <p:cNvSpPr/>
          <p:nvPr/>
        </p:nvSpPr>
        <p:spPr>
          <a:xfrm>
            <a:off x="680556" y="3531455"/>
            <a:ext cx="44577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initions of pregnancy loss varies across countries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A3E5574-3957-428A-90BA-E005CE0AEE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547383"/>
              </p:ext>
            </p:extLst>
          </p:nvPr>
        </p:nvGraphicFramePr>
        <p:xfrm>
          <a:off x="763599" y="4239341"/>
          <a:ext cx="4365553" cy="210312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078625">
                  <a:extLst>
                    <a:ext uri="{9D8B030D-6E8A-4147-A177-3AD203B41FA5}">
                      <a16:colId xmlns:a16="http://schemas.microsoft.com/office/drawing/2014/main" val="3999200516"/>
                    </a:ext>
                  </a:extLst>
                </a:gridCol>
                <a:gridCol w="1286928">
                  <a:extLst>
                    <a:ext uri="{9D8B030D-6E8A-4147-A177-3AD203B41FA5}">
                      <a16:colId xmlns:a16="http://schemas.microsoft.com/office/drawing/2014/main" val="447171929"/>
                    </a:ext>
                  </a:extLst>
                </a:gridCol>
              </a:tblGrid>
              <a:tr h="570690">
                <a:tc>
                  <a:txBody>
                    <a:bodyPr/>
                    <a:lstStyle/>
                    <a:p>
                      <a:r>
                        <a:rPr lang="en-US" sz="1800" dirty="0"/>
                        <a:t>Country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1C2B5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ge of viability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1C2B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756733"/>
                  </a:ext>
                </a:extLst>
              </a:tr>
              <a:tr h="330638">
                <a:tc>
                  <a:txBody>
                    <a:bodyPr/>
                    <a:lstStyle/>
                    <a:p>
                      <a:r>
                        <a:rPr lang="en-US" sz="1600" dirty="0"/>
                        <a:t>Bangladesh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8 weeks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129879"/>
                  </a:ext>
                </a:extLst>
              </a:tr>
              <a:tr h="330638">
                <a:tc>
                  <a:txBody>
                    <a:bodyPr/>
                    <a:lstStyle/>
                    <a:p>
                      <a:r>
                        <a:rPr lang="en-US" sz="1600" dirty="0"/>
                        <a:t>United Kingdom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4 weeks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3108605"/>
                  </a:ext>
                </a:extLst>
              </a:tr>
              <a:tr h="330638">
                <a:tc>
                  <a:txBody>
                    <a:bodyPr/>
                    <a:lstStyle/>
                    <a:p>
                      <a:r>
                        <a:rPr lang="en-US" sz="1600" dirty="0"/>
                        <a:t>United States of America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 weeks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91317"/>
                  </a:ext>
                </a:extLst>
              </a:tr>
              <a:tr h="330638">
                <a:tc>
                  <a:txBody>
                    <a:bodyPr/>
                    <a:lstStyle/>
                    <a:p>
                      <a:r>
                        <a:rPr lang="en-US" sz="1600" dirty="0"/>
                        <a:t>Europe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2 weeks</a:t>
                      </a:r>
                    </a:p>
                  </a:txBody>
                  <a:tcPr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49034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0374FAE-BF1A-425C-B75E-7D56D43A2FC9}"/>
              </a:ext>
            </a:extLst>
          </p:cNvPr>
          <p:cNvSpPr/>
          <p:nvPr/>
        </p:nvSpPr>
        <p:spPr>
          <a:xfrm>
            <a:off x="659469" y="633505"/>
            <a:ext cx="10873060" cy="1915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1">
              <a:lnSpc>
                <a:spcPct val="107000"/>
              </a:lnSpc>
              <a:spcBef>
                <a:spcPts val="1800"/>
              </a:spcBef>
              <a:spcAft>
                <a:spcPts val="0"/>
              </a:spcAft>
            </a:pPr>
            <a:endParaRPr lang="en-US" sz="4400" dirty="0">
              <a:latin typeface="Times" pitchFamily="2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rgbClr val="9E2161"/>
                </a:solidFill>
                <a:latin typeface="Lucida Calligraphy" panose="03010101010101010101" pitchFamily="66" charset="0"/>
                <a:ea typeface="Times New Roman" panose="02020603050405020304" pitchFamily="18" charset="0"/>
                <a:cs typeface="Calibri" panose="020F0502020204030204" pitchFamily="34" charset="0"/>
              </a:rPr>
              <a:t>General objective: </a:t>
            </a:r>
            <a:endParaRPr lang="en-US" sz="2000" dirty="0">
              <a:solidFill>
                <a:srgbClr val="9E2161"/>
              </a:solidFill>
              <a:latin typeface="Lucida Calligraphy" panose="03010101010101010101" pitchFamily="66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To estimate the burden of pregnancy loss among pregnant women in rural Bangladesh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300E89-9875-41D1-861B-18A03286F3F1}"/>
              </a:ext>
            </a:extLst>
          </p:cNvPr>
          <p:cNvSpPr/>
          <p:nvPr/>
        </p:nvSpPr>
        <p:spPr>
          <a:xfrm>
            <a:off x="659469" y="2834293"/>
            <a:ext cx="10873059" cy="1114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rgbClr val="9E2161"/>
                </a:solidFill>
                <a:latin typeface="Lucida Calligraphy" panose="03010101010101010101" pitchFamily="66" charset="0"/>
                <a:ea typeface="Times New Roman" panose="02020603050405020304" pitchFamily="18" charset="0"/>
                <a:cs typeface="Calibri" panose="020F0502020204030204" pitchFamily="34" charset="0"/>
              </a:rPr>
              <a:t>Specific objective:</a:t>
            </a:r>
          </a:p>
          <a:p>
            <a:pPr marL="342900" indent="-3429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estimate the </a:t>
            </a:r>
            <a:r>
              <a:rPr lang="en-US" sz="2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ortion of pregnancy loss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mong pregnant women in rural Bangladesh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9D4230-348A-49A0-A113-7EE42883C91F}"/>
              </a:ext>
            </a:extLst>
          </p:cNvPr>
          <p:cNvSpPr/>
          <p:nvPr/>
        </p:nvSpPr>
        <p:spPr>
          <a:xfrm>
            <a:off x="659469" y="3985165"/>
            <a:ext cx="10190783" cy="1575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estimate the </a:t>
            </a:r>
            <a:r>
              <a:rPr lang="en-US" sz="2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portion of different types of pregnancy loss 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ng pregnant women in rural Bangladesh, including early and late pregnancy loss.</a:t>
            </a: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 determine the </a:t>
            </a:r>
            <a:r>
              <a:rPr lang="en-US" sz="2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terminants of pregnancy loss 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ong pregnant women in rural Bangladesh</a:t>
            </a:r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75F49D35-6ECD-4418-9EB8-62AFD8361A11}"/>
              </a:ext>
            </a:extLst>
          </p:cNvPr>
          <p:cNvSpPr txBox="1"/>
          <p:nvPr/>
        </p:nvSpPr>
        <p:spPr>
          <a:xfrm>
            <a:off x="-1240278" y="196808"/>
            <a:ext cx="14672551" cy="11998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 indent="0" algn="ctr">
              <a:lnSpc>
                <a:spcPts val="11087"/>
              </a:lnSpc>
              <a:spcBef>
                <a:spcPct val="0"/>
              </a:spcBef>
            </a:pPr>
            <a:r>
              <a:rPr lang="en-US" sz="4400" dirty="0">
                <a:latin typeface="Times" pitchFamily="2" charset="0"/>
              </a:rPr>
              <a:t>Objectives</a:t>
            </a: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094E137A-85B4-4EA3-8E2B-BCFA43A52779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33442568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8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78B0563-85E7-4B51-A9F9-0D556A7F8360}"/>
              </a:ext>
            </a:extLst>
          </p:cNvPr>
          <p:cNvSpPr txBox="1"/>
          <p:nvPr/>
        </p:nvSpPr>
        <p:spPr>
          <a:xfrm>
            <a:off x="4334773" y="2851680"/>
            <a:ext cx="89650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thodology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AF29885-747E-41F5-96CB-12F3999189C3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9133570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8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39A2A21-9F17-42D4-9B29-01932EA81BE9}"/>
              </a:ext>
            </a:extLst>
          </p:cNvPr>
          <p:cNvGrpSpPr/>
          <p:nvPr/>
        </p:nvGrpSpPr>
        <p:grpSpPr>
          <a:xfrm>
            <a:off x="7262339" y="1415544"/>
            <a:ext cx="2833768" cy="1200329"/>
            <a:chOff x="2674096" y="3964308"/>
            <a:chExt cx="2675101" cy="89606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F940BB8-0A41-4CA6-BB9A-96413D9B7AE6}"/>
                </a:ext>
              </a:extLst>
            </p:cNvPr>
            <p:cNvSpPr/>
            <p:nvPr/>
          </p:nvSpPr>
          <p:spPr>
            <a:xfrm>
              <a:off x="2674096" y="3964308"/>
              <a:ext cx="2675101" cy="8960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arried women under reproductive age (MWRA) with a confirmed pregnancy tes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23327F8-DC07-468C-A1F8-2BF57C7B4E7F}"/>
                </a:ext>
              </a:extLst>
            </p:cNvPr>
            <p:cNvSpPr/>
            <p:nvPr/>
          </p:nvSpPr>
          <p:spPr>
            <a:xfrm>
              <a:off x="3461203" y="4148505"/>
              <a:ext cx="1271644" cy="2527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1986DD75-948A-45F4-BACB-8FA45592C066}"/>
              </a:ext>
            </a:extLst>
          </p:cNvPr>
          <p:cNvSpPr/>
          <p:nvPr/>
        </p:nvSpPr>
        <p:spPr>
          <a:xfrm>
            <a:off x="6183778" y="870105"/>
            <a:ext cx="26629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630"/>
            <a:r>
              <a:rPr lang="en-US" sz="2000" dirty="0">
                <a:latin typeface="Lucida Calligraphy" panose="03010101010101010101" pitchFamily="66" charset="0"/>
              </a:rPr>
              <a:t>Study population</a:t>
            </a:r>
            <a:r>
              <a:rPr lang="en-US" sz="2000" dirty="0"/>
              <a:t>: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3BCB1794-8ECB-41AE-98FA-E56BA711D3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1522438" y="1409190"/>
            <a:ext cx="754935" cy="72233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87486AB4-8AE5-4116-968A-1079976E7A2F}"/>
              </a:ext>
            </a:extLst>
          </p:cNvPr>
          <p:cNvSpPr/>
          <p:nvPr/>
        </p:nvSpPr>
        <p:spPr>
          <a:xfrm>
            <a:off x="1391397" y="870105"/>
            <a:ext cx="208262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630"/>
            <a:r>
              <a:rPr lang="en-US" sz="2000" dirty="0">
                <a:latin typeface="Lucida Calligraphy" panose="03010101010101010101" pitchFamily="66" charset="0"/>
              </a:rPr>
              <a:t>Study design: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87D5632-E71D-4063-BA4B-EF104DC348EF}"/>
              </a:ext>
            </a:extLst>
          </p:cNvPr>
          <p:cNvSpPr/>
          <p:nvPr/>
        </p:nvSpPr>
        <p:spPr>
          <a:xfrm>
            <a:off x="6095999" y="5200972"/>
            <a:ext cx="2301423" cy="6463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E2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9E2161"/>
                </a:solidFill>
              </a:rPr>
              <a:t>Exclusion criteria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0EB40DB-6AAB-4968-876A-6D69E3817FA2}"/>
              </a:ext>
            </a:extLst>
          </p:cNvPr>
          <p:cNvSpPr/>
          <p:nvPr/>
        </p:nvSpPr>
        <p:spPr>
          <a:xfrm>
            <a:off x="6096000" y="3057214"/>
            <a:ext cx="2301423" cy="6463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E2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9E2161"/>
                </a:solidFill>
              </a:rPr>
              <a:t>Inclusion criteria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893FA6A-20D3-4E1A-B3C6-BFF46D930DD8}"/>
              </a:ext>
            </a:extLst>
          </p:cNvPr>
          <p:cNvSpPr txBox="1"/>
          <p:nvPr/>
        </p:nvSpPr>
        <p:spPr>
          <a:xfrm>
            <a:off x="2224313" y="1391008"/>
            <a:ext cx="278523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630"/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condary analysis of data from the Baliakandi-HDSS of icddr,b</a:t>
            </a:r>
          </a:p>
          <a:p>
            <a:pPr defTabSz="609630"/>
            <a:endParaRPr lang="en-US" sz="2400" dirty="0">
              <a:solidFill>
                <a:schemeClr val="accent1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32CD241-BC56-4EE0-B338-2AB87B84EB99}"/>
              </a:ext>
            </a:extLst>
          </p:cNvPr>
          <p:cNvSpPr/>
          <p:nvPr/>
        </p:nvSpPr>
        <p:spPr>
          <a:xfrm>
            <a:off x="1212636" y="718866"/>
            <a:ext cx="4118111" cy="1884828"/>
          </a:xfrm>
          <a:prstGeom prst="roundRect">
            <a:avLst/>
          </a:prstGeom>
          <a:noFill/>
          <a:ln w="25400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835C1314-5E85-4AE7-A36D-D7EE5BAA5FCF}"/>
              </a:ext>
            </a:extLst>
          </p:cNvPr>
          <p:cNvSpPr/>
          <p:nvPr/>
        </p:nvSpPr>
        <p:spPr>
          <a:xfrm>
            <a:off x="6121355" y="718866"/>
            <a:ext cx="4118111" cy="1884828"/>
          </a:xfrm>
          <a:prstGeom prst="roundRect">
            <a:avLst/>
          </a:prstGeom>
          <a:noFill/>
          <a:ln w="25400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1938A3-9C30-4E30-A050-CFF75B864AB4}"/>
              </a:ext>
            </a:extLst>
          </p:cNvPr>
          <p:cNvSpPr/>
          <p:nvPr/>
        </p:nvSpPr>
        <p:spPr>
          <a:xfrm>
            <a:off x="6183778" y="3775274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e (15-49 yr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rri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gnancy confirmed by urine strip test or US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ermanent resident of Baliakandi</a:t>
            </a: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C5E8AD4-51D2-4051-8DD2-3E05DC8EDF58}"/>
              </a:ext>
            </a:extLst>
          </p:cNvPr>
          <p:cNvSpPr/>
          <p:nvPr/>
        </p:nvSpPr>
        <p:spPr>
          <a:xfrm>
            <a:off x="6254693" y="6046202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MP after December 2021 </a:t>
            </a:r>
          </a:p>
        </p:txBody>
      </p:sp>
      <p:pic>
        <p:nvPicPr>
          <p:cNvPr id="6" name="Graphic 5" descr="Group of women">
            <a:extLst>
              <a:ext uri="{FF2B5EF4-FFF2-40B4-BE49-F238E27FC236}">
                <a16:creationId xmlns:a16="http://schemas.microsoft.com/office/drawing/2014/main" id="{825FB074-5B4F-48D6-972A-FAE64EFEED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82118" y="1421454"/>
            <a:ext cx="736862" cy="73686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12CAB16-9ECF-4493-8C95-526282D52723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97" y="3248883"/>
            <a:ext cx="2902307" cy="3166651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43EADAF9-7FF6-4186-A0CD-3116404542DE}"/>
              </a:ext>
            </a:extLst>
          </p:cNvPr>
          <p:cNvSpPr/>
          <p:nvPr/>
        </p:nvSpPr>
        <p:spPr>
          <a:xfrm>
            <a:off x="1236062" y="2857159"/>
            <a:ext cx="16882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630"/>
            <a:r>
              <a:rPr lang="en-US" sz="2000" dirty="0">
                <a:latin typeface="Lucida Calligraphy" panose="03010101010101010101" pitchFamily="66" charset="0"/>
              </a:rPr>
              <a:t>Study site: </a:t>
            </a:r>
          </a:p>
        </p:txBody>
      </p:sp>
      <p:sp>
        <p:nvSpPr>
          <p:cNvPr id="22" name="Freeform 3">
            <a:extLst>
              <a:ext uri="{FF2B5EF4-FFF2-40B4-BE49-F238E27FC236}">
                <a16:creationId xmlns:a16="http://schemas.microsoft.com/office/drawing/2014/main" id="{6E6C00A1-6FBA-4EC4-85DD-9D8421C27F95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33386614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8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4F9E87D-13BC-4D4F-9781-5FB5D3DCC0F7}"/>
              </a:ext>
            </a:extLst>
          </p:cNvPr>
          <p:cNvCxnSpPr>
            <a:cxnSpLocks/>
          </p:cNvCxnSpPr>
          <p:nvPr/>
        </p:nvCxnSpPr>
        <p:spPr>
          <a:xfrm>
            <a:off x="928995" y="1671638"/>
            <a:ext cx="0" cy="2328862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C30ADD71-A8D4-47E8-A83F-91327F0B5199}"/>
              </a:ext>
            </a:extLst>
          </p:cNvPr>
          <p:cNvSpPr/>
          <p:nvPr/>
        </p:nvSpPr>
        <p:spPr>
          <a:xfrm>
            <a:off x="1051705" y="1539055"/>
            <a:ext cx="4890795" cy="25355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60963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mary outcome of interest</a:t>
            </a:r>
          </a:p>
          <a:p>
            <a:pPr marL="742950" lvl="1" indent="-285750" defTabSz="60963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gnancy loss</a:t>
            </a:r>
          </a:p>
          <a:p>
            <a:pPr marL="342900" indent="-342900" defTabSz="60963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condary outcome of interest</a:t>
            </a:r>
          </a:p>
          <a:p>
            <a:pPr marL="742950" lvl="1" indent="-285750" defTabSz="60963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s of pregnancy loss</a:t>
            </a:r>
          </a:p>
          <a:p>
            <a:pPr marL="1657350" lvl="3" indent="-285750" defTabSz="60963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arly pregnancy loss</a:t>
            </a:r>
          </a:p>
          <a:p>
            <a:pPr marL="1657350" lvl="3" indent="-285750" defTabSz="60963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te pregnancy los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DB6FC45-F8E2-4515-ACD8-A4154D513416}"/>
              </a:ext>
            </a:extLst>
          </p:cNvPr>
          <p:cNvSpPr/>
          <p:nvPr/>
        </p:nvSpPr>
        <p:spPr>
          <a:xfrm>
            <a:off x="7432088" y="1539055"/>
            <a:ext cx="4140492" cy="2893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ge of the woman and husband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Education of the woman and husband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fession of the woman and husband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gnancy order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story of pregnancy loss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alth quintile</a:t>
            </a:r>
          </a:p>
          <a:p>
            <a:pPr marL="342900" indent="-342900" defTabSz="609630">
              <a:buFont typeface="Arial" panose="020B0604020202020204" pitchFamily="34" charset="0"/>
              <a:buChar char="•"/>
            </a:pPr>
            <a:endParaRPr lang="en-US" sz="2000" dirty="0">
              <a:latin typeface="Lucida Calligraphy" panose="03010101010101010101" pitchFamily="66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ED4F06E-F623-4351-A435-FC12A687FFE6}"/>
              </a:ext>
            </a:extLst>
          </p:cNvPr>
          <p:cNvSpPr/>
          <p:nvPr/>
        </p:nvSpPr>
        <p:spPr>
          <a:xfrm>
            <a:off x="658944" y="807000"/>
            <a:ext cx="2695284" cy="6463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E2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9E2161"/>
                </a:solidFill>
              </a:rPr>
              <a:t>Outcome variable 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D0C0171-26EC-4CB7-A514-030E73E31AE2}"/>
              </a:ext>
            </a:extLst>
          </p:cNvPr>
          <p:cNvSpPr/>
          <p:nvPr/>
        </p:nvSpPr>
        <p:spPr>
          <a:xfrm>
            <a:off x="6778196" y="806999"/>
            <a:ext cx="2695284" cy="6463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E2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9E2161"/>
                </a:solidFill>
              </a:rPr>
              <a:t>Independent variable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0BA5229-6E58-4618-9988-96FC1821F94C}"/>
              </a:ext>
            </a:extLst>
          </p:cNvPr>
          <p:cNvCxnSpPr>
            <a:cxnSpLocks/>
          </p:cNvCxnSpPr>
          <p:nvPr/>
        </p:nvCxnSpPr>
        <p:spPr>
          <a:xfrm>
            <a:off x="7231792" y="1671638"/>
            <a:ext cx="0" cy="2328862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 3">
            <a:extLst>
              <a:ext uri="{FF2B5EF4-FFF2-40B4-BE49-F238E27FC236}">
                <a16:creationId xmlns:a16="http://schemas.microsoft.com/office/drawing/2014/main" id="{2E512C65-9B73-4A59-BF12-224A03365B22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40661660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8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65A54B-F098-446B-A5A6-9A16AF0994B7}"/>
              </a:ext>
            </a:extLst>
          </p:cNvPr>
          <p:cNvSpPr/>
          <p:nvPr/>
        </p:nvSpPr>
        <p:spPr>
          <a:xfrm>
            <a:off x="806667" y="1215510"/>
            <a:ext cx="223170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630"/>
            <a:r>
              <a:rPr lang="en-US" sz="2000" dirty="0">
                <a:solidFill>
                  <a:srgbClr val="9E2161"/>
                </a:solidFill>
                <a:latin typeface="Lucida Calligraphy" panose="03010101010101010101" pitchFamily="66" charset="0"/>
              </a:rPr>
              <a:t>Analysis plan: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3FEA8B1-520B-40C8-A450-296CE130234A}"/>
              </a:ext>
            </a:extLst>
          </p:cNvPr>
          <p:cNvSpPr txBox="1"/>
          <p:nvPr/>
        </p:nvSpPr>
        <p:spPr>
          <a:xfrm>
            <a:off x="850605" y="1786270"/>
            <a:ext cx="1110039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criptive statistics were done to show the background characteristics of the study population and proportions of pregnancy loss including early and late pregnancy loss as well as miscarriage/spontaneous and induced abortion. </a:t>
            </a:r>
          </a:p>
          <a:p>
            <a:pPr>
              <a:lnSpc>
                <a:spcPct val="150000"/>
              </a:lnSpc>
            </a:pP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understand the association between variables, bivariate logistic regression was done followed by multivariate logistic regression adjusting the covariates.</a:t>
            </a:r>
          </a:p>
          <a:p>
            <a:endParaRPr lang="en-US" dirty="0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9F13181-B4A2-4041-BE6A-861BD6F4A556}"/>
              </a:ext>
            </a:extLst>
          </p:cNvPr>
          <p:cNvSpPr/>
          <p:nvPr/>
        </p:nvSpPr>
        <p:spPr>
          <a:xfrm>
            <a:off x="238900" y="233464"/>
            <a:ext cx="11714202" cy="6391072"/>
          </a:xfrm>
          <a:custGeom>
            <a:avLst/>
            <a:gdLst/>
            <a:ahLst/>
            <a:cxnLst/>
            <a:rect l="l" t="t" r="r" b="b"/>
            <a:pathLst>
              <a:path w="12338234" h="6731534">
                <a:moveTo>
                  <a:pt x="0" y="0"/>
                </a:moveTo>
                <a:lnTo>
                  <a:pt x="0" y="6731534"/>
                </a:lnTo>
                <a:lnTo>
                  <a:pt x="12338234" y="6731534"/>
                </a:lnTo>
                <a:lnTo>
                  <a:pt x="12338234" y="0"/>
                </a:lnTo>
                <a:lnTo>
                  <a:pt x="0" y="0"/>
                </a:lnTo>
                <a:close/>
                <a:moveTo>
                  <a:pt x="12277275" y="6670573"/>
                </a:moveTo>
                <a:lnTo>
                  <a:pt x="59690" y="6670573"/>
                </a:lnTo>
                <a:lnTo>
                  <a:pt x="59690" y="59690"/>
                </a:lnTo>
                <a:lnTo>
                  <a:pt x="12277275" y="59690"/>
                </a:lnTo>
                <a:lnTo>
                  <a:pt x="12277275" y="6670573"/>
                </a:lnTo>
                <a:close/>
              </a:path>
            </a:pathLst>
          </a:custGeom>
          <a:solidFill>
            <a:srgbClr val="1C2120"/>
          </a:solidFill>
        </p:spPr>
      </p:sp>
    </p:spTree>
    <p:extLst>
      <p:ext uri="{BB962C8B-B14F-4D97-AF65-F5344CB8AC3E}">
        <p14:creationId xmlns:p14="http://schemas.microsoft.com/office/powerpoint/2010/main" val="30702613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19989CA_6249_4A17_A80A_DBA935DC8B83&quot;,&quot;SourceFullName&quot;:&quot;C:\\Users\\sahar.raza\\AppData\\Local\\Microsoft\\Windows\\INetCache\\Content.Outlook\\V01JR6ZH\\Copy of Baliakandi analysis v6_AER_V2.xlsx&quot;,&quot;LastUpdate&quot;:&quot;2023-02-14 12:48 PM&quot;,&quot;UpdatedBy&quot;:&quot;drahm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19989CA_6249_4A17_A80A_DBA935DC8B83&quot;,&quot;SourceFullName&quot;:&quot;C:\\Users\\sahar.raza\\AppData\\Local\\Microsoft\\Windows\\INetCache\\Content.Outlook\\V01JR6ZH\\Copy of Baliakandi analysis v6_AER_V2.xlsx&quot;,&quot;LastUpdate&quot;:&quot;2023-02-14 12:48 PM&quot;,&quot;UpdatedBy&quot;:&quot;drahm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FD8DAD2_8EDA_468F_A751_BDC1CE185C48&quot;,&quot;SourceFullName&quot;:&quot;Book1&quot;,&quot;LastUpdate&quot;:&quot;2023-02-14 12:44 PM&quot;,&quot;UpdatedBy&quot;:&quot;drahm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FD8DAD2_8EDA_468F_A751_BDC1CE185C48&quot;,&quot;SourceFullName&quot;:&quot;Book1&quot;,&quot;LastUpdate&quot;:&quot;2023-02-14 12:44 PM&quot;,&quot;UpdatedBy&quot;:&quot;drahm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9475F01_B74D_4F05_A16E_B0400085D5C7&quot;,&quot;SourceFullName&quot;:&quot;C:\\Users\\sahar.raza\\AppData\\Local\\Microsoft\\Windows\\INetCache\\Content.Outlook\\V01JR6ZH\\Copy of Baliakandi analysis v6_AER_V2 (002).xlsx&quot;,&quot;LastUpdate&quot;:&quot;2023-02-14 12:50 PM&quot;,&quot;UpdatedBy&quot;:&quot;drahm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9475F01_B74D_4F05_A16E_B0400085D5C7&quot;,&quot;SourceFullName&quot;:&quot;C:\\Users\\sahar.raza\\AppData\\Local\\Microsoft\\Windows\\INetCache\\Content.Outlook\\V01JR6ZH\\Copy of Baliakandi analysis v6_AER_V2 (002).xlsx&quot;,&quot;LastUpdate&quot;:&quot;2023-02-14 12:50 PM&quot;,&quot;UpdatedBy&quot;:&quot;drahm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D4EB167_75F2_4309_83ED_27E788C29C7F&quot;,&quot;SourceFullName&quot;:&quot;https://uoe-my.sharepoint.com/personal/s1867776_ed_ac_uk/Documents/Ehsan_Office/Project/AdSEARCH/Secondary Analysis/Pregnancy Loss/Baliakandi analysis v9.xlsx&quot;,&quot;LastUpdate&quot;:&quot;2023-02-15 12:14 PM&quot;,&quot;UpdatedBy&quot;:&quot;drahm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4</TotalTime>
  <Words>2306</Words>
  <Application>Microsoft Office PowerPoint</Application>
  <PresentationFormat>Widescreen</PresentationFormat>
  <Paragraphs>863</Paragraphs>
  <Slides>33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3" baseType="lpstr">
      <vt:lpstr>SimSun</vt:lpstr>
      <vt:lpstr>Arial</vt:lpstr>
      <vt:lpstr>Calibri</vt:lpstr>
      <vt:lpstr>Calibri Light</vt:lpstr>
      <vt:lpstr>League Gothic</vt:lpstr>
      <vt:lpstr>Lucida Calligraphy</vt:lpstr>
      <vt:lpstr>Times</vt:lpstr>
      <vt:lpstr>Times New Roman</vt:lpstr>
      <vt:lpstr>Vrinda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. What are the background characteristics of the pregnant wome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3. When do the pregnancy loss events occur?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hmed Ehsanur Rahman</dc:creator>
  <cp:lastModifiedBy>Sahar Raza</cp:lastModifiedBy>
  <cp:revision>56</cp:revision>
  <dcterms:created xsi:type="dcterms:W3CDTF">2023-02-14T06:33:27Z</dcterms:created>
  <dcterms:modified xsi:type="dcterms:W3CDTF">2023-03-13T03:05:50Z</dcterms:modified>
</cp:coreProperties>
</file>